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421" r:id="rId2"/>
    <p:sldId id="422" r:id="rId3"/>
    <p:sldId id="261" r:id="rId4"/>
    <p:sldId id="5672" r:id="rId5"/>
    <p:sldId id="5673" r:id="rId6"/>
    <p:sldId id="483" r:id="rId7"/>
    <p:sldId id="5676" r:id="rId8"/>
    <p:sldId id="5674" r:id="rId9"/>
    <p:sldId id="5677" r:id="rId10"/>
    <p:sldId id="5678" r:id="rId11"/>
    <p:sldId id="5668" r:id="rId12"/>
  </p:sldIdLst>
  <p:sldSz cx="12192000" cy="6858000"/>
  <p:notesSz cx="6889750" cy="100187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6348856-C37A-4851-ABCB-50DB04C10F8E}" v="75" dt="2023-11-20T15:15:19.3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700" autoAdjust="0"/>
    <p:restoredTop sz="94660"/>
  </p:normalViewPr>
  <p:slideViewPr>
    <p:cSldViewPr snapToGrid="0">
      <p:cViewPr varScale="1">
        <p:scale>
          <a:sx n="74" d="100"/>
          <a:sy n="74" d="100"/>
        </p:scale>
        <p:origin x="36" y="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la Vuchkovich" userId="b18160f283e17c61" providerId="LiveId" clId="{A6348856-C37A-4851-ABCB-50DB04C10F8E}"/>
    <pc:docChg chg="undo custSel addSld delSld modSld sldOrd">
      <pc:chgData name="Alla Vuchkovich" userId="b18160f283e17c61" providerId="LiveId" clId="{A6348856-C37A-4851-ABCB-50DB04C10F8E}" dt="2023-11-27T22:03:05.507" v="2659" actId="20577"/>
      <pc:docMkLst>
        <pc:docMk/>
      </pc:docMkLst>
      <pc:sldChg chg="ord">
        <pc:chgData name="Alla Vuchkovich" userId="b18160f283e17c61" providerId="LiveId" clId="{A6348856-C37A-4851-ABCB-50DB04C10F8E}" dt="2023-11-20T11:20:01.679" v="207"/>
        <pc:sldMkLst>
          <pc:docMk/>
          <pc:sldMk cId="0" sldId="261"/>
        </pc:sldMkLst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4146440054" sldId="313"/>
        </pc:sldMkLst>
      </pc:sldChg>
      <pc:sldChg chg="addSp delSp modSp mod">
        <pc:chgData name="Alla Vuchkovich" userId="b18160f283e17c61" providerId="LiveId" clId="{A6348856-C37A-4851-ABCB-50DB04C10F8E}" dt="2023-11-20T12:25:15.561" v="1587" actId="20577"/>
        <pc:sldMkLst>
          <pc:docMk/>
          <pc:sldMk cId="1560326538" sldId="421"/>
        </pc:sldMkLst>
        <pc:spChg chg="mod">
          <ac:chgData name="Alla Vuchkovich" userId="b18160f283e17c61" providerId="LiveId" clId="{A6348856-C37A-4851-ABCB-50DB04C10F8E}" dt="2023-11-20T11:16:00.429" v="14" actId="1076"/>
          <ac:spMkLst>
            <pc:docMk/>
            <pc:sldMk cId="1560326538" sldId="421"/>
            <ac:spMk id="2" creationId="{0160785F-22C7-4024-B519-62F0704BAC64}"/>
          </ac:spMkLst>
        </pc:spChg>
        <pc:spChg chg="mod">
          <ac:chgData name="Alla Vuchkovich" userId="b18160f283e17c61" providerId="LiveId" clId="{A6348856-C37A-4851-ABCB-50DB04C10F8E}" dt="2023-11-20T12:24:54.446" v="1555" actId="20577"/>
          <ac:spMkLst>
            <pc:docMk/>
            <pc:sldMk cId="1560326538" sldId="421"/>
            <ac:spMk id="5" creationId="{9F35EACB-625D-4CD5-8999-E16F8AA11184}"/>
          </ac:spMkLst>
        </pc:spChg>
        <pc:spChg chg="mod">
          <ac:chgData name="Alla Vuchkovich" userId="b18160f283e17c61" providerId="LiveId" clId="{A6348856-C37A-4851-ABCB-50DB04C10F8E}" dt="2023-11-20T12:25:15.561" v="1587" actId="20577"/>
          <ac:spMkLst>
            <pc:docMk/>
            <pc:sldMk cId="1560326538" sldId="421"/>
            <ac:spMk id="6" creationId="{CC94757D-27F6-4CA5-B0DB-A783A35253C3}"/>
          </ac:spMkLst>
        </pc:spChg>
        <pc:spChg chg="mod">
          <ac:chgData name="Alla Vuchkovich" userId="b18160f283e17c61" providerId="LiveId" clId="{A6348856-C37A-4851-ABCB-50DB04C10F8E}" dt="2023-11-20T11:18:09.094" v="159" actId="14100"/>
          <ac:spMkLst>
            <pc:docMk/>
            <pc:sldMk cId="1560326538" sldId="421"/>
            <ac:spMk id="9" creationId="{66813B37-C5E1-41EC-8024-E2124FE8D519}"/>
          </ac:spMkLst>
        </pc:spChg>
        <pc:picChg chg="del">
          <ac:chgData name="Alla Vuchkovich" userId="b18160f283e17c61" providerId="LiveId" clId="{A6348856-C37A-4851-ABCB-50DB04C10F8E}" dt="2023-11-20T11:15:08.143" v="0" actId="478"/>
          <ac:picMkLst>
            <pc:docMk/>
            <pc:sldMk cId="1560326538" sldId="421"/>
            <ac:picMk id="13" creationId="{93B4E3BC-985B-3A0D-C981-C7C4D3409907}"/>
          </ac:picMkLst>
        </pc:picChg>
        <pc:picChg chg="add mod">
          <ac:chgData name="Alla Vuchkovich" userId="b18160f283e17c61" providerId="LiveId" clId="{A6348856-C37A-4851-ABCB-50DB04C10F8E}" dt="2023-11-20T11:16:21.093" v="19" actId="1076"/>
          <ac:picMkLst>
            <pc:docMk/>
            <pc:sldMk cId="1560326538" sldId="421"/>
            <ac:picMk id="1026" creationId="{48FD119E-9C59-33CA-9234-40CCC5E8C1E5}"/>
          </ac:picMkLst>
        </pc:picChg>
      </pc:sldChg>
      <pc:sldChg chg="modSp mod">
        <pc:chgData name="Alla Vuchkovich" userId="b18160f283e17c61" providerId="LiveId" clId="{A6348856-C37A-4851-ABCB-50DB04C10F8E}" dt="2023-11-20T11:19:30.976" v="205" actId="20577"/>
        <pc:sldMkLst>
          <pc:docMk/>
          <pc:sldMk cId="4014996085" sldId="422"/>
        </pc:sldMkLst>
        <pc:spChg chg="mod">
          <ac:chgData name="Alla Vuchkovich" userId="b18160f283e17c61" providerId="LiveId" clId="{A6348856-C37A-4851-ABCB-50DB04C10F8E}" dt="2023-11-20T11:19:30.976" v="205" actId="20577"/>
          <ac:spMkLst>
            <pc:docMk/>
            <pc:sldMk cId="4014996085" sldId="422"/>
            <ac:spMk id="5" creationId="{BE3DCA28-BF60-418A-8760-7FB4D845A3F9}"/>
          </ac:spMkLst>
        </pc:spChg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4180516840" sldId="482"/>
        </pc:sldMkLst>
      </pc:sldChg>
      <pc:sldChg chg="addSp modSp mod ord">
        <pc:chgData name="Alla Vuchkovich" userId="b18160f283e17c61" providerId="LiveId" clId="{A6348856-C37A-4851-ABCB-50DB04C10F8E}" dt="2023-11-20T14:51:44.353" v="2426" actId="1076"/>
        <pc:sldMkLst>
          <pc:docMk/>
          <pc:sldMk cId="653927512" sldId="483"/>
        </pc:sldMkLst>
        <pc:spChg chg="mod">
          <ac:chgData name="Alla Vuchkovich" userId="b18160f283e17c61" providerId="LiveId" clId="{A6348856-C37A-4851-ABCB-50DB04C10F8E}" dt="2023-11-20T14:51:44.353" v="2426" actId="1076"/>
          <ac:spMkLst>
            <pc:docMk/>
            <pc:sldMk cId="653927512" sldId="483"/>
            <ac:spMk id="3" creationId="{CB7C7EE4-926C-97E2-BE1E-3C7E30565F58}"/>
          </ac:spMkLst>
        </pc:spChg>
        <pc:spChg chg="mod">
          <ac:chgData name="Alla Vuchkovich" userId="b18160f283e17c61" providerId="LiveId" clId="{A6348856-C37A-4851-ABCB-50DB04C10F8E}" dt="2023-11-20T12:13:43.534" v="395" actId="6549"/>
          <ac:spMkLst>
            <pc:docMk/>
            <pc:sldMk cId="653927512" sldId="483"/>
            <ac:spMk id="12" creationId="{B3672C4F-3CC6-48D1-953C-6E55EC651C95}"/>
          </ac:spMkLst>
        </pc:spChg>
        <pc:picChg chg="add mod">
          <ac:chgData name="Alla Vuchkovich" userId="b18160f283e17c61" providerId="LiveId" clId="{A6348856-C37A-4851-ABCB-50DB04C10F8E}" dt="2023-11-20T14:51:39.227" v="2425" actId="1076"/>
          <ac:picMkLst>
            <pc:docMk/>
            <pc:sldMk cId="653927512" sldId="483"/>
            <ac:picMk id="1026" creationId="{99AB23D0-CD89-4618-5F2F-547CC50F3D48}"/>
          </ac:picMkLst>
        </pc:picChg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3811334315" sldId="488"/>
        </pc:sldMkLst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397023600" sldId="560"/>
        </pc:sldMkLst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3574802417" sldId="5662"/>
        </pc:sldMkLst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234491491" sldId="5663"/>
        </pc:sldMkLst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4035216548" sldId="5664"/>
        </pc:sldMkLst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22422257" sldId="5665"/>
        </pc:sldMkLst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1441090117" sldId="5666"/>
        </pc:sldMkLst>
      </pc:sldChg>
      <pc:sldChg chg="modSp mod">
        <pc:chgData name="Alla Vuchkovich" userId="b18160f283e17c61" providerId="LiveId" clId="{A6348856-C37A-4851-ABCB-50DB04C10F8E}" dt="2023-11-20T14:45:43.740" v="2414" actId="20577"/>
        <pc:sldMkLst>
          <pc:docMk/>
          <pc:sldMk cId="3507122481" sldId="5668"/>
        </pc:sldMkLst>
        <pc:spChg chg="mod">
          <ac:chgData name="Alla Vuchkovich" userId="b18160f283e17c61" providerId="LiveId" clId="{A6348856-C37A-4851-ABCB-50DB04C10F8E}" dt="2023-11-20T14:45:43.740" v="2414" actId="20577"/>
          <ac:spMkLst>
            <pc:docMk/>
            <pc:sldMk cId="3507122481" sldId="5668"/>
            <ac:spMk id="2" creationId="{7F11D6D1-272A-1836-0215-48F89EE95733}"/>
          </ac:spMkLst>
        </pc:spChg>
      </pc:sldChg>
      <pc:sldChg chg="del">
        <pc:chgData name="Alla Vuchkovich" userId="b18160f283e17c61" providerId="LiveId" clId="{A6348856-C37A-4851-ABCB-50DB04C10F8E}" dt="2023-11-20T14:46:11.245" v="2416" actId="47"/>
        <pc:sldMkLst>
          <pc:docMk/>
          <pc:sldMk cId="3511108801" sldId="5669"/>
        </pc:sldMkLst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3542294091" sldId="5670"/>
        </pc:sldMkLst>
      </pc:sldChg>
      <pc:sldChg chg="del">
        <pc:chgData name="Alla Vuchkovich" userId="b18160f283e17c61" providerId="LiveId" clId="{A6348856-C37A-4851-ABCB-50DB04C10F8E}" dt="2023-11-20T14:46:06.320" v="2415" actId="47"/>
        <pc:sldMkLst>
          <pc:docMk/>
          <pc:sldMk cId="3830003913" sldId="5671"/>
        </pc:sldMkLst>
      </pc:sldChg>
      <pc:sldChg chg="addSp delSp modSp new mod">
        <pc:chgData name="Alla Vuchkovich" userId="b18160f283e17c61" providerId="LiveId" clId="{A6348856-C37A-4851-ABCB-50DB04C10F8E}" dt="2023-11-20T14:47:24.489" v="2418" actId="14100"/>
        <pc:sldMkLst>
          <pc:docMk/>
          <pc:sldMk cId="4067206585" sldId="5672"/>
        </pc:sldMkLst>
        <pc:spChg chg="del">
          <ac:chgData name="Alla Vuchkovich" userId="b18160f283e17c61" providerId="LiveId" clId="{A6348856-C37A-4851-ABCB-50DB04C10F8E}" dt="2023-11-20T11:45:34.554" v="209" actId="478"/>
          <ac:spMkLst>
            <pc:docMk/>
            <pc:sldMk cId="4067206585" sldId="5672"/>
            <ac:spMk id="2" creationId="{379F6544-D71B-CEF4-4DF1-06B873354EDB}"/>
          </ac:spMkLst>
        </pc:spChg>
        <pc:spChg chg="add mod">
          <ac:chgData name="Alla Vuchkovich" userId="b18160f283e17c61" providerId="LiveId" clId="{A6348856-C37A-4851-ABCB-50DB04C10F8E}" dt="2023-11-20T11:53:13.674" v="281" actId="947"/>
          <ac:spMkLst>
            <pc:docMk/>
            <pc:sldMk cId="4067206585" sldId="5672"/>
            <ac:spMk id="2" creationId="{D786FBF8-C85E-499C-5294-1A512147FC06}"/>
          </ac:spMkLst>
        </pc:spChg>
        <pc:spChg chg="del">
          <ac:chgData name="Alla Vuchkovich" userId="b18160f283e17c61" providerId="LiveId" clId="{A6348856-C37A-4851-ABCB-50DB04C10F8E}" dt="2023-11-20T11:45:41.526" v="210" actId="478"/>
          <ac:spMkLst>
            <pc:docMk/>
            <pc:sldMk cId="4067206585" sldId="5672"/>
            <ac:spMk id="3" creationId="{D6B5BFD4-B092-46F8-B050-37BF48D03A94}"/>
          </ac:spMkLst>
        </pc:spChg>
        <pc:picChg chg="add mod modCrop">
          <ac:chgData name="Alla Vuchkovich" userId="b18160f283e17c61" providerId="LiveId" clId="{A6348856-C37A-4851-ABCB-50DB04C10F8E}" dt="2023-11-20T14:47:24.489" v="2418" actId="14100"/>
          <ac:picMkLst>
            <pc:docMk/>
            <pc:sldMk cId="4067206585" sldId="5672"/>
            <ac:picMk id="4" creationId="{043D2CC1-9E98-5E84-E20A-A69220C9657B}"/>
          </ac:picMkLst>
        </pc:picChg>
      </pc:sldChg>
      <pc:sldChg chg="addSp delSp modSp new mod ord">
        <pc:chgData name="Alla Vuchkovich" userId="b18160f283e17c61" providerId="LiveId" clId="{A6348856-C37A-4851-ABCB-50DB04C10F8E}" dt="2023-11-20T14:43:48.372" v="2376"/>
        <pc:sldMkLst>
          <pc:docMk/>
          <pc:sldMk cId="3117831907" sldId="5673"/>
        </pc:sldMkLst>
        <pc:spChg chg="del">
          <ac:chgData name="Alla Vuchkovich" userId="b18160f283e17c61" providerId="LiveId" clId="{A6348856-C37A-4851-ABCB-50DB04C10F8E}" dt="2023-11-20T11:51:18.930" v="263" actId="478"/>
          <ac:spMkLst>
            <pc:docMk/>
            <pc:sldMk cId="3117831907" sldId="5673"/>
            <ac:spMk id="2" creationId="{8C9BC0BB-BD0A-50CB-B73E-783EB5675529}"/>
          </ac:spMkLst>
        </pc:spChg>
        <pc:spChg chg="del">
          <ac:chgData name="Alla Vuchkovich" userId="b18160f283e17c61" providerId="LiveId" clId="{A6348856-C37A-4851-ABCB-50DB04C10F8E}" dt="2023-11-20T11:51:23.381" v="264" actId="478"/>
          <ac:spMkLst>
            <pc:docMk/>
            <pc:sldMk cId="3117831907" sldId="5673"/>
            <ac:spMk id="3" creationId="{915E6429-55FF-5729-BE2E-1EBD02783C00}"/>
          </ac:spMkLst>
        </pc:spChg>
        <pc:spChg chg="add mod">
          <ac:chgData name="Alla Vuchkovich" userId="b18160f283e17c61" providerId="LiveId" clId="{A6348856-C37A-4851-ABCB-50DB04C10F8E}" dt="2023-11-20T11:53:34.480" v="283" actId="1076"/>
          <ac:spMkLst>
            <pc:docMk/>
            <pc:sldMk cId="3117831907" sldId="5673"/>
            <ac:spMk id="6" creationId="{FF2255F3-3926-F46E-868A-32B8190C75BC}"/>
          </ac:spMkLst>
        </pc:spChg>
        <pc:picChg chg="add mod modCrop">
          <ac:chgData name="Alla Vuchkovich" userId="b18160f283e17c61" providerId="LiveId" clId="{A6348856-C37A-4851-ABCB-50DB04C10F8E}" dt="2023-11-20T11:52:34.665" v="278" actId="1076"/>
          <ac:picMkLst>
            <pc:docMk/>
            <pc:sldMk cId="3117831907" sldId="5673"/>
            <ac:picMk id="4" creationId="{EB913CDD-0C31-5D69-6EA4-EE18FD6E9E2F}"/>
          </ac:picMkLst>
        </pc:picChg>
      </pc:sldChg>
      <pc:sldChg chg="addSp delSp modSp new mod ord">
        <pc:chgData name="Alla Vuchkovich" userId="b18160f283e17c61" providerId="LiveId" clId="{A6348856-C37A-4851-ABCB-50DB04C10F8E}" dt="2023-11-20T14:44:46.804" v="2380"/>
        <pc:sldMkLst>
          <pc:docMk/>
          <pc:sldMk cId="237616486" sldId="5674"/>
        </pc:sldMkLst>
        <pc:spChg chg="del">
          <ac:chgData name="Alla Vuchkovich" userId="b18160f283e17c61" providerId="LiveId" clId="{A6348856-C37A-4851-ABCB-50DB04C10F8E}" dt="2023-11-20T11:55:12.705" v="285" actId="478"/>
          <ac:spMkLst>
            <pc:docMk/>
            <pc:sldMk cId="237616486" sldId="5674"/>
            <ac:spMk id="2" creationId="{342CB963-F093-9B7B-8D81-196D0D69191E}"/>
          </ac:spMkLst>
        </pc:spChg>
        <pc:spChg chg="del">
          <ac:chgData name="Alla Vuchkovich" userId="b18160f283e17c61" providerId="LiveId" clId="{A6348856-C37A-4851-ABCB-50DB04C10F8E}" dt="2023-11-20T11:55:12.705" v="285" actId="478"/>
          <ac:spMkLst>
            <pc:docMk/>
            <pc:sldMk cId="237616486" sldId="5674"/>
            <ac:spMk id="3" creationId="{A1C30EBA-00F4-900E-E197-FF6BD8EE9AB8}"/>
          </ac:spMkLst>
        </pc:spChg>
        <pc:spChg chg="add mod">
          <ac:chgData name="Alla Vuchkovich" userId="b18160f283e17c61" providerId="LiveId" clId="{A6348856-C37A-4851-ABCB-50DB04C10F8E}" dt="2023-11-20T11:56:53.448" v="299" actId="1076"/>
          <ac:spMkLst>
            <pc:docMk/>
            <pc:sldMk cId="237616486" sldId="5674"/>
            <ac:spMk id="6" creationId="{829C31EE-A34B-30CD-48E4-E02E8FF61BC0}"/>
          </ac:spMkLst>
        </pc:spChg>
        <pc:picChg chg="add mod modCrop">
          <ac:chgData name="Alla Vuchkovich" userId="b18160f283e17c61" providerId="LiveId" clId="{A6348856-C37A-4851-ABCB-50DB04C10F8E}" dt="2023-11-20T11:56:27.387" v="297" actId="14100"/>
          <ac:picMkLst>
            <pc:docMk/>
            <pc:sldMk cId="237616486" sldId="5674"/>
            <ac:picMk id="4" creationId="{F63C72C0-B930-9E03-F508-8F5A4A2DA950}"/>
          </ac:picMkLst>
        </pc:picChg>
      </pc:sldChg>
      <pc:sldChg chg="new del">
        <pc:chgData name="Alla Vuchkovich" userId="b18160f283e17c61" providerId="LiveId" clId="{A6348856-C37A-4851-ABCB-50DB04C10F8E}" dt="2023-11-20T14:46:06.320" v="2415" actId="47"/>
        <pc:sldMkLst>
          <pc:docMk/>
          <pc:sldMk cId="1845453436" sldId="5675"/>
        </pc:sldMkLst>
      </pc:sldChg>
      <pc:sldChg chg="addSp modSp mod">
        <pc:chgData name="Alla Vuchkovich" userId="b18160f283e17c61" providerId="LiveId" clId="{A6348856-C37A-4851-ABCB-50DB04C10F8E}" dt="2023-11-27T22:03:05.507" v="2659" actId="20577"/>
        <pc:sldMkLst>
          <pc:docMk/>
          <pc:sldMk cId="3181904626" sldId="5676"/>
        </pc:sldMkLst>
        <pc:spChg chg="mod">
          <ac:chgData name="Alla Vuchkovich" userId="b18160f283e17c61" providerId="LiveId" clId="{A6348856-C37A-4851-ABCB-50DB04C10F8E}" dt="2023-11-27T22:03:05.507" v="2659" actId="20577"/>
          <ac:spMkLst>
            <pc:docMk/>
            <pc:sldMk cId="3181904626" sldId="5676"/>
            <ac:spMk id="3" creationId="{CB7C7EE4-926C-97E2-BE1E-3C7E30565F58}"/>
          </ac:spMkLst>
        </pc:spChg>
        <pc:spChg chg="mod">
          <ac:chgData name="Alla Vuchkovich" userId="b18160f283e17c61" providerId="LiveId" clId="{A6348856-C37A-4851-ABCB-50DB04C10F8E}" dt="2023-11-20T12:19:41.237" v="892" actId="6549"/>
          <ac:spMkLst>
            <pc:docMk/>
            <pc:sldMk cId="3181904626" sldId="5676"/>
            <ac:spMk id="12" creationId="{B3672C4F-3CC6-48D1-953C-6E55EC651C95}"/>
          </ac:spMkLst>
        </pc:spChg>
        <pc:picChg chg="add mod">
          <ac:chgData name="Alla Vuchkovich" userId="b18160f283e17c61" providerId="LiveId" clId="{A6348856-C37A-4851-ABCB-50DB04C10F8E}" dt="2023-11-20T14:58:04.453" v="2443" actId="1076"/>
          <ac:picMkLst>
            <pc:docMk/>
            <pc:sldMk cId="3181904626" sldId="5676"/>
            <ac:picMk id="2050" creationId="{CF1A2770-B42B-15DF-DD36-3506D747456F}"/>
          </ac:picMkLst>
        </pc:picChg>
        <pc:picChg chg="add mod">
          <ac:chgData name="Alla Vuchkovich" userId="b18160f283e17c61" providerId="LiveId" clId="{A6348856-C37A-4851-ABCB-50DB04C10F8E}" dt="2023-11-20T15:00:39.315" v="2450" actId="1076"/>
          <ac:picMkLst>
            <pc:docMk/>
            <pc:sldMk cId="3181904626" sldId="5676"/>
            <ac:picMk id="2052" creationId="{78409B41-AE2A-53F8-E1C0-EFB5AD354927}"/>
          </ac:picMkLst>
        </pc:picChg>
      </pc:sldChg>
      <pc:sldChg chg="addSp modSp mod ord">
        <pc:chgData name="Alla Vuchkovich" userId="b18160f283e17c61" providerId="LiveId" clId="{A6348856-C37A-4851-ABCB-50DB04C10F8E}" dt="2023-11-20T15:03:41.604" v="2466" actId="1076"/>
        <pc:sldMkLst>
          <pc:docMk/>
          <pc:sldMk cId="3167029456" sldId="5677"/>
        </pc:sldMkLst>
        <pc:spChg chg="mod">
          <ac:chgData name="Alla Vuchkovich" userId="b18160f283e17c61" providerId="LiveId" clId="{A6348856-C37A-4851-ABCB-50DB04C10F8E}" dt="2023-11-20T15:03:36.947" v="2465" actId="20577"/>
          <ac:spMkLst>
            <pc:docMk/>
            <pc:sldMk cId="3167029456" sldId="5677"/>
            <ac:spMk id="3" creationId="{CB7C7EE4-926C-97E2-BE1E-3C7E30565F58}"/>
          </ac:spMkLst>
        </pc:spChg>
        <pc:spChg chg="mod">
          <ac:chgData name="Alla Vuchkovich" userId="b18160f283e17c61" providerId="LiveId" clId="{A6348856-C37A-4851-ABCB-50DB04C10F8E}" dt="2023-11-20T12:24:21.896" v="1553" actId="6549"/>
          <ac:spMkLst>
            <pc:docMk/>
            <pc:sldMk cId="3167029456" sldId="5677"/>
            <ac:spMk id="12" creationId="{B3672C4F-3CC6-48D1-953C-6E55EC651C95}"/>
          </ac:spMkLst>
        </pc:spChg>
        <pc:picChg chg="add mod">
          <ac:chgData name="Alla Vuchkovich" userId="b18160f283e17c61" providerId="LiveId" clId="{A6348856-C37A-4851-ABCB-50DB04C10F8E}" dt="2023-11-20T15:03:41.604" v="2466" actId="1076"/>
          <ac:picMkLst>
            <pc:docMk/>
            <pc:sldMk cId="3167029456" sldId="5677"/>
            <ac:picMk id="3074" creationId="{00CE6CE6-0ED9-619C-6BBA-61C75ABAD7C4}"/>
          </ac:picMkLst>
        </pc:picChg>
      </pc:sldChg>
      <pc:sldChg chg="addSp modSp mod">
        <pc:chgData name="Alla Vuchkovich" userId="b18160f283e17c61" providerId="LiveId" clId="{A6348856-C37A-4851-ABCB-50DB04C10F8E}" dt="2023-11-20T15:15:19.390" v="2653" actId="1076"/>
        <pc:sldMkLst>
          <pc:docMk/>
          <pc:sldMk cId="2343287056" sldId="5678"/>
        </pc:sldMkLst>
        <pc:spChg chg="mod">
          <ac:chgData name="Alla Vuchkovich" userId="b18160f283e17c61" providerId="LiveId" clId="{A6348856-C37A-4851-ABCB-50DB04C10F8E}" dt="2023-11-20T15:13:15.865" v="2644" actId="5793"/>
          <ac:spMkLst>
            <pc:docMk/>
            <pc:sldMk cId="2343287056" sldId="5678"/>
            <ac:spMk id="3" creationId="{CB7C7EE4-926C-97E2-BE1E-3C7E30565F58}"/>
          </ac:spMkLst>
        </pc:spChg>
        <pc:spChg chg="mod">
          <ac:chgData name="Alla Vuchkovich" userId="b18160f283e17c61" providerId="LiveId" clId="{A6348856-C37A-4851-ABCB-50DB04C10F8E}" dt="2023-11-20T14:31:17.152" v="1662" actId="14100"/>
          <ac:spMkLst>
            <pc:docMk/>
            <pc:sldMk cId="2343287056" sldId="5678"/>
            <ac:spMk id="12" creationId="{B3672C4F-3CC6-48D1-953C-6E55EC651C95}"/>
          </ac:spMkLst>
        </pc:spChg>
        <pc:picChg chg="add mod">
          <ac:chgData name="Alla Vuchkovich" userId="b18160f283e17c61" providerId="LiveId" clId="{A6348856-C37A-4851-ABCB-50DB04C10F8E}" dt="2023-11-20T15:07:54.622" v="2592" actId="1076"/>
          <ac:picMkLst>
            <pc:docMk/>
            <pc:sldMk cId="2343287056" sldId="5678"/>
            <ac:picMk id="4098" creationId="{92C6A9AF-670C-C87B-164D-5EB0E6F2CD2A}"/>
          </ac:picMkLst>
        </pc:picChg>
        <pc:picChg chg="add mod">
          <ac:chgData name="Alla Vuchkovich" userId="b18160f283e17c61" providerId="LiveId" clId="{A6348856-C37A-4851-ABCB-50DB04C10F8E}" dt="2023-11-20T15:10:12.834" v="2597" actId="1076"/>
          <ac:picMkLst>
            <pc:docMk/>
            <pc:sldMk cId="2343287056" sldId="5678"/>
            <ac:picMk id="4100" creationId="{3011D6A2-C1C6-6944-C740-7B5DF38A3C3B}"/>
          </ac:picMkLst>
        </pc:picChg>
        <pc:picChg chg="add mod">
          <ac:chgData name="Alla Vuchkovich" userId="b18160f283e17c61" providerId="LiveId" clId="{A6348856-C37A-4851-ABCB-50DB04C10F8E}" dt="2023-11-20T15:15:19.390" v="2653" actId="1076"/>
          <ac:picMkLst>
            <pc:docMk/>
            <pc:sldMk cId="2343287056" sldId="5678"/>
            <ac:picMk id="4102" creationId="{8E70887A-897F-D603-697C-93D15B46B850}"/>
          </ac:picMkLst>
        </pc:picChg>
        <pc:picChg chg="add mod">
          <ac:chgData name="Alla Vuchkovich" userId="b18160f283e17c61" providerId="LiveId" clId="{A6348856-C37A-4851-ABCB-50DB04C10F8E}" dt="2023-11-20T15:15:15.488" v="2652" actId="14100"/>
          <ac:picMkLst>
            <pc:docMk/>
            <pc:sldMk cId="2343287056" sldId="5678"/>
            <ac:picMk id="4104" creationId="{DDA04BCB-E269-64A7-4F00-00D6B321A1E4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92752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19625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46366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</p:spPr>
        <p:txBody>
          <a:bodyPr/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26941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587" y="0"/>
            <a:ext cx="6096000" cy="49879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762327" y="1412875"/>
            <a:ext cx="4670424" cy="1197354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762750" y="2724666"/>
            <a:ext cx="4670425" cy="276808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068181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616" y="487513"/>
            <a:ext cx="4803209" cy="11973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52058D-C72C-314B-9146-CB4A74548DE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98A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Proxima Nova Rg" panose="02000506030000020004" pitchFamily="50" charset="0"/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1034540" y="2569364"/>
            <a:ext cx="3537460" cy="3309937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53723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DD5F916-E5AC-E948-96D5-624808A404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13EFF71-5F97-D74C-AC41-3CEA45F53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40762" y="3111336"/>
            <a:ext cx="10309872" cy="1733796"/>
          </a:xfrm>
        </p:spPr>
        <p:txBody>
          <a:bodyPr anchor="t">
            <a:normAutofit/>
          </a:bodyPr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4400" b="1" kern="1200" dirty="0">
                <a:solidFill>
                  <a:schemeClr val="bg1"/>
                </a:solidFill>
                <a:latin typeface="Raleway" panose="020B0503030101060003" pitchFamily="34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924171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94A14AA4-A835-6247-A7B2-13AE3501D566}"/>
              </a:ext>
            </a:extLst>
          </p:cNvPr>
          <p:cNvGrpSpPr/>
          <p:nvPr userDrawn="1"/>
        </p:nvGrpSpPr>
        <p:grpSpPr>
          <a:xfrm>
            <a:off x="4535803" y="1525201"/>
            <a:ext cx="3134568" cy="1542290"/>
            <a:chOff x="4471256" y="1192048"/>
            <a:chExt cx="3134568" cy="1542290"/>
          </a:xfrm>
        </p:grpSpPr>
        <p:sp>
          <p:nvSpPr>
            <p:cNvPr id="4" name="Заголовок 1">
              <a:extLst>
                <a:ext uri="{FF2B5EF4-FFF2-40B4-BE49-F238E27FC236}">
                  <a16:creationId xmlns:a16="http://schemas.microsoft.com/office/drawing/2014/main" id="{1DD02062-42AB-EE43-A759-DB157E2FD029}"/>
                </a:ext>
              </a:extLst>
            </p:cNvPr>
            <p:cNvSpPr txBox="1">
              <a:spLocks/>
            </p:cNvSpPr>
            <p:nvPr/>
          </p:nvSpPr>
          <p:spPr>
            <a:xfrm>
              <a:off x="4471256" y="2075483"/>
              <a:ext cx="3134568" cy="658855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ru-RU" sz="2400" b="1" dirty="0">
                  <a:solidFill>
                    <a:schemeClr val="bg2"/>
                  </a:solidFill>
                  <a:latin typeface="Proxima Nova Rg" panose="02000506030000020004" pitchFamily="50" charset="0"/>
                </a:rPr>
                <a:t>ЧАСТЬ</a:t>
              </a:r>
            </a:p>
          </p:txBody>
        </p:sp>
        <p:sp>
          <p:nvSpPr>
            <p:cNvPr id="5" name="Заголовок 1">
              <a:extLst>
                <a:ext uri="{FF2B5EF4-FFF2-40B4-BE49-F238E27FC236}">
                  <a16:creationId xmlns:a16="http://schemas.microsoft.com/office/drawing/2014/main" id="{C4D86C87-5D65-FD40-891D-1A82E23AEC3C}"/>
                </a:ext>
              </a:extLst>
            </p:cNvPr>
            <p:cNvSpPr txBox="1">
              <a:spLocks/>
            </p:cNvSpPr>
            <p:nvPr/>
          </p:nvSpPr>
          <p:spPr>
            <a:xfrm>
              <a:off x="4975284" y="1192048"/>
              <a:ext cx="2126511" cy="112585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sz="10600" b="1" dirty="0">
                  <a:solidFill>
                    <a:schemeClr val="bg2"/>
                  </a:solidFill>
                  <a:latin typeface="Proxima Nova Rg" panose="02000506030000020004" pitchFamily="50" charset="0"/>
                </a:rPr>
                <a:t>III</a:t>
              </a:r>
              <a:endParaRPr lang="ru-RU" sz="10600" b="1" dirty="0">
                <a:solidFill>
                  <a:schemeClr val="bg2"/>
                </a:solidFill>
                <a:latin typeface="Proxima Nova Rg" panose="02000506030000020004" pitchFamily="50" charset="0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6C686F6-CECA-3642-9073-46BC77627F03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2484" y="3429000"/>
            <a:ext cx="167285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61890" y="4161210"/>
            <a:ext cx="10890331" cy="756842"/>
          </a:xfrm>
        </p:spPr>
        <p:txBody>
          <a:bodyPr/>
          <a:lstStyle>
            <a:lvl1pPr algn="ctr">
              <a:defRPr lang="ru-RU" sz="4000" b="1" kern="1200" dirty="0">
                <a:solidFill>
                  <a:schemeClr val="tx1"/>
                </a:solidFill>
                <a:latin typeface="Raleway" panose="020B0503030101060003" pitchFamily="34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2674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684764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01111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  <a:prstGeom prst="rect">
            <a:avLst/>
          </a:prstGeom>
        </p:spPr>
        <p:txBody>
          <a:bodyPr/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18641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990004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587" y="0"/>
            <a:ext cx="6096000" cy="49879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6762327" y="1412875"/>
            <a:ext cx="4670424" cy="1197354"/>
          </a:xfrm>
        </p:spPr>
        <p:txBody>
          <a:bodyPr>
            <a:noAutofit/>
          </a:bodyPr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762750" y="2724666"/>
            <a:ext cx="4670425" cy="276808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282098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616" y="487513"/>
            <a:ext cx="4803209" cy="119735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252058D-C72C-314B-9146-CB4A74548DE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98A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Proxima Nova Rg" panose="02000506030000020004" pitchFamily="50" charset="0"/>
            </a:endParaRP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1034540" y="2569364"/>
            <a:ext cx="3537460" cy="330993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13508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4FDE8-5BC0-2540-AC0C-F11FAFBF3C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4233DD-EAB6-4D4B-A1B9-3ABA37F165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FD06C-1FC4-4132-9463-3E309250126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1353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40762" y="3111336"/>
            <a:ext cx="10309872" cy="1733796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ru-RU" sz="4400" b="1" kern="1200" dirty="0">
                <a:solidFill>
                  <a:schemeClr val="bg1"/>
                </a:solidFill>
                <a:latin typeface="Raleway" panose="020B0503030101060003" pitchFamily="34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45599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/>
          </p:cNvGrpSpPr>
          <p:nvPr userDrawn="1"/>
        </p:nvGrpSpPr>
        <p:grpSpPr bwMode="auto">
          <a:xfrm>
            <a:off x="4535488" y="1525588"/>
            <a:ext cx="3135312" cy="1541462"/>
            <a:chOff x="4471256" y="1192048"/>
            <a:chExt cx="3134568" cy="1542290"/>
          </a:xfrm>
        </p:grpSpPr>
        <p:sp>
          <p:nvSpPr>
            <p:cNvPr id="4" name="Заголовок 1">
              <a:extLst>
                <a:ext uri="{FF2B5EF4-FFF2-40B4-BE49-F238E27FC236}">
                  <a16:creationId xmlns:a16="http://schemas.microsoft.com/office/drawing/2014/main" id="{6DD4C85F-9811-402B-8E80-7F5878EE1720}"/>
                </a:ext>
              </a:extLst>
            </p:cNvPr>
            <p:cNvSpPr txBox="1">
              <a:spLocks/>
            </p:cNvSpPr>
            <p:nvPr/>
          </p:nvSpPr>
          <p:spPr>
            <a:xfrm>
              <a:off x="4471256" y="2075172"/>
              <a:ext cx="3134568" cy="659166"/>
            </a:xfrm>
            <a:prstGeom prst="rect">
              <a:avLst/>
            </a:prstGeom>
          </p:spPr>
          <p:txBody>
            <a:bodyPr anchor="ctr">
              <a:normAutofit/>
            </a:bodyPr>
            <a:lstStyle>
              <a:lvl1pPr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Trebuchet MS" panose="020B060302020202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lnSpc>
                  <a:spcPct val="90000"/>
                </a:lnSpc>
                <a:defRPr/>
              </a:pPr>
              <a:r>
                <a:rPr lang="ru-RU" altLang="ru-RU" sz="2400" dirty="0">
                  <a:solidFill>
                    <a:schemeClr val="bg2"/>
                  </a:solidFill>
                  <a:latin typeface="Proxima Nova Rg" panose="02000506030000020004" pitchFamily="50" charset="0"/>
                </a:rPr>
                <a:t>ЧАСТЬ</a:t>
              </a:r>
            </a:p>
          </p:txBody>
        </p:sp>
        <p:sp>
          <p:nvSpPr>
            <p:cNvPr id="5" name="Заголовок 1">
              <a:extLst>
                <a:ext uri="{FF2B5EF4-FFF2-40B4-BE49-F238E27FC236}">
                  <a16:creationId xmlns:a16="http://schemas.microsoft.com/office/drawing/2014/main" id="{C6AFC882-188A-4BB0-93A2-E69C6C0E8BC5}"/>
                </a:ext>
              </a:extLst>
            </p:cNvPr>
            <p:cNvSpPr txBox="1">
              <a:spLocks/>
            </p:cNvSpPr>
            <p:nvPr/>
          </p:nvSpPr>
          <p:spPr>
            <a:xfrm>
              <a:off x="4975961" y="1192048"/>
              <a:ext cx="2125158" cy="1126142"/>
            </a:xfrm>
            <a:prstGeom prst="rect">
              <a:avLst/>
            </a:prstGeom>
          </p:spPr>
          <p:txBody>
            <a:bodyPr anchor="ctr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defRPr/>
              </a:pPr>
              <a:r>
                <a:rPr lang="en-US" sz="10600" dirty="0">
                  <a:solidFill>
                    <a:schemeClr val="bg2"/>
                  </a:solidFill>
                  <a:latin typeface="Proxima Nova Rg" panose="02000506030000020004" pitchFamily="50" charset="0"/>
                </a:rPr>
                <a:t>III</a:t>
              </a:r>
              <a:endParaRPr lang="ru-RU" sz="10600" dirty="0">
                <a:solidFill>
                  <a:schemeClr val="bg2"/>
                </a:solidFill>
                <a:latin typeface="Proxima Nova Rg" panose="02000506030000020004" pitchFamily="50" charset="0"/>
              </a:endParaRPr>
            </a:p>
          </p:txBody>
        </p:sp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9E4115C-7F5C-426B-9992-8324480A40AC}"/>
              </a:ext>
            </a:extLst>
          </p:cNvPr>
          <p:cNvCxnSpPr>
            <a:cxnSpLocks/>
          </p:cNvCxnSpPr>
          <p:nvPr userDrawn="1"/>
        </p:nvCxnSpPr>
        <p:spPr>
          <a:xfrm flipH="1">
            <a:off x="5253038" y="3429000"/>
            <a:ext cx="1671637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61890" y="4161210"/>
            <a:ext cx="10890331" cy="756842"/>
          </a:xfrm>
        </p:spPr>
        <p:txBody>
          <a:bodyPr/>
          <a:lstStyle>
            <a:lvl1pPr algn="ctr">
              <a:defRPr lang="ru-RU" sz="4000" b="1" kern="1200" dirty="0">
                <a:solidFill>
                  <a:schemeClr val="tx1"/>
                </a:solidFill>
                <a:latin typeface="Raleway" panose="020B0503030101060003" pitchFamily="34" charset="-52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084136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5258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8132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974" y="495293"/>
            <a:ext cx="10824154" cy="1325563"/>
          </a:xfrm>
        </p:spPr>
        <p:txBody>
          <a:bodyPr>
            <a:no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974" y="1916113"/>
            <a:ext cx="10824154" cy="43513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defRPr sz="2400"/>
            </a:lvl1pPr>
            <a:lvl2pPr marL="0" indent="0">
              <a:defRPr/>
            </a:lvl2pPr>
            <a:lvl3pPr marL="0" indent="0">
              <a:defRPr/>
            </a:lvl3pPr>
            <a:lvl4pPr marL="0" indent="0">
              <a:defRPr b="1"/>
            </a:lvl4pPr>
            <a:lvl5pPr marL="0" indent="0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06B535F-7592-4637-86FB-FDE4077409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C0BBB1-AC55-4FF3-BF4D-83E339E7FBB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5968908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-1587" y="0"/>
            <a:ext cx="6096000" cy="498792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  <a:endParaRPr lang="ru-RU" noProof="0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762327" y="1412875"/>
            <a:ext cx="4670424" cy="1197354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762750" y="2724666"/>
            <a:ext cx="4670425" cy="2768084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06B535F-7592-4637-86FB-FDE4077409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7BB14-1348-48BF-9E9F-7B701AF46DC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4619135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>
            <a:extLst>
              <a:ext uri="{FF2B5EF4-FFF2-40B4-BE49-F238E27FC236}">
                <a16:creationId xmlns:a16="http://schemas.microsoft.com/office/drawing/2014/main" id="{1E90F8BD-54DA-4513-BDC3-A767522EB25C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98A6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Proxima Nova Rg" panose="02000506030000020004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616" y="487513"/>
            <a:ext cx="4803209" cy="11973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0"/>
          </p:nvPr>
        </p:nvSpPr>
        <p:spPr>
          <a:xfrm>
            <a:off x="1034540" y="2569364"/>
            <a:ext cx="3537460" cy="330993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/>
          <a:lstStyle/>
          <a:p>
            <a:pPr lvl="0"/>
            <a:r>
              <a:rPr lang="en-US" noProof="0" dirty="0"/>
              <a:t>Click icon to add picture</a:t>
            </a:r>
            <a:endParaRPr lang="ru-RU" noProof="0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0DD7A64-2197-411E-9CA0-3EBFD7269C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FF462F-7800-4696-9C17-BF4BB4B5E7B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3545174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12410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"/>
          <p:cNvSpPr>
            <a:spLocks noGrp="1"/>
          </p:cNvSpPr>
          <p:nvPr>
            <p:ph type="pic" sz="quarter" idx="11"/>
          </p:nvPr>
        </p:nvSpPr>
        <p:spPr>
          <a:xfrm>
            <a:off x="3257549" y="590549"/>
            <a:ext cx="2838451" cy="2838451"/>
          </a:xfrm>
          <a:prstGeom prst="rect">
            <a:avLst/>
          </a:prstGeom>
        </p:spPr>
      </p:sp>
      <p:sp>
        <p:nvSpPr>
          <p:cNvPr id="19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19100" y="3429000"/>
            <a:ext cx="2838451" cy="2838451"/>
          </a:xfrm>
          <a:prstGeom prst="rect">
            <a:avLst/>
          </a:prstGeom>
        </p:spPr>
      </p:sp>
      <p:sp>
        <p:nvSpPr>
          <p:cNvPr id="20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096000" y="3429000"/>
            <a:ext cx="2838451" cy="2838451"/>
          </a:xfrm>
          <a:prstGeom prst="rect">
            <a:avLst/>
          </a:prstGeom>
        </p:spPr>
      </p:sp>
      <p:sp>
        <p:nvSpPr>
          <p:cNvPr id="21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8934449" y="590549"/>
            <a:ext cx="2838451" cy="2838451"/>
          </a:xfrm>
          <a:prstGeom prst="rect">
            <a:avLst/>
          </a:prstGeom>
        </p:spPr>
      </p:sp>
    </p:spTree>
    <p:extLst>
      <p:ext uri="{BB962C8B-B14F-4D97-AF65-F5344CB8AC3E}">
        <p14:creationId xmlns:p14="http://schemas.microsoft.com/office/powerpoint/2010/main" val="2509300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angle 9">
            <a:extLst>
              <a:ext uri="{FF2B5EF4-FFF2-40B4-BE49-F238E27FC236}">
                <a16:creationId xmlns:a16="http://schemas.microsoft.com/office/drawing/2014/main" id="{5E393314-924D-0344-9674-1DB9FF3EE20C}"/>
              </a:ext>
            </a:extLst>
          </p:cNvPr>
          <p:cNvSpPr/>
          <p:nvPr userDrawn="1"/>
        </p:nvSpPr>
        <p:spPr>
          <a:xfrm>
            <a:off x="143691" y="4728754"/>
            <a:ext cx="12048309" cy="2129246"/>
          </a:xfrm>
          <a:prstGeom prst="triangle">
            <a:avLst>
              <a:gd name="adj" fmla="val 100000"/>
            </a:avLst>
          </a:prstGeom>
          <a:solidFill>
            <a:srgbClr val="0E16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dirty="0">
              <a:latin typeface="Proxima Nova Rg" panose="02000506030000020004" pitchFamily="50" charset="0"/>
            </a:endParaRPr>
          </a:p>
        </p:txBody>
      </p:sp>
      <p:sp>
        <p:nvSpPr>
          <p:cNvPr id="3" name="Freeform 14">
            <a:extLst>
              <a:ext uri="{FF2B5EF4-FFF2-40B4-BE49-F238E27FC236}">
                <a16:creationId xmlns:a16="http://schemas.microsoft.com/office/drawing/2014/main" id="{8447D8BC-A713-45C8-ADE9-5F49053BE77B}"/>
              </a:ext>
            </a:extLst>
          </p:cNvPr>
          <p:cNvSpPr/>
          <p:nvPr userDrawn="1"/>
        </p:nvSpPr>
        <p:spPr>
          <a:xfrm rot="16200000" flipH="1">
            <a:off x="8615762" y="3311019"/>
            <a:ext cx="3755048" cy="3397432"/>
          </a:xfrm>
          <a:custGeom>
            <a:avLst/>
            <a:gdLst>
              <a:gd name="connsiteX0" fmla="*/ 0 w 3817489"/>
              <a:gd name="connsiteY0" fmla="*/ 3397433 h 3397433"/>
              <a:gd name="connsiteX1" fmla="*/ 3817489 w 3817489"/>
              <a:gd name="connsiteY1" fmla="*/ 3397432 h 3397433"/>
              <a:gd name="connsiteX2" fmla="*/ 3817489 w 3817489"/>
              <a:gd name="connsiteY2" fmla="*/ 0 h 3397433"/>
              <a:gd name="connsiteX3" fmla="*/ 663484 w 3817489"/>
              <a:gd name="connsiteY3" fmla="*/ 0 h 3397433"/>
              <a:gd name="connsiteX0" fmla="*/ 5 w 3817494"/>
              <a:gd name="connsiteY0" fmla="*/ 3397433 h 3397433"/>
              <a:gd name="connsiteX1" fmla="*/ 3817494 w 3817494"/>
              <a:gd name="connsiteY1" fmla="*/ 3397432 h 3397433"/>
              <a:gd name="connsiteX2" fmla="*/ 3817494 w 3817494"/>
              <a:gd name="connsiteY2" fmla="*/ 0 h 3397433"/>
              <a:gd name="connsiteX3" fmla="*/ 663489 w 3817494"/>
              <a:gd name="connsiteY3" fmla="*/ 0 h 3397433"/>
              <a:gd name="connsiteX4" fmla="*/ 5 w 3817494"/>
              <a:gd name="connsiteY4" fmla="*/ 3397433 h 3397433"/>
              <a:gd name="connsiteX0" fmla="*/ 7 w 3755050"/>
              <a:gd name="connsiteY0" fmla="*/ 3392976 h 3397432"/>
              <a:gd name="connsiteX1" fmla="*/ 3755050 w 3755050"/>
              <a:gd name="connsiteY1" fmla="*/ 3397432 h 3397432"/>
              <a:gd name="connsiteX2" fmla="*/ 3755050 w 3755050"/>
              <a:gd name="connsiteY2" fmla="*/ 0 h 3397432"/>
              <a:gd name="connsiteX3" fmla="*/ 601045 w 3755050"/>
              <a:gd name="connsiteY3" fmla="*/ 0 h 3397432"/>
              <a:gd name="connsiteX4" fmla="*/ 7 w 3755050"/>
              <a:gd name="connsiteY4" fmla="*/ 3392976 h 3397432"/>
              <a:gd name="connsiteX0" fmla="*/ 5 w 3755048"/>
              <a:gd name="connsiteY0" fmla="*/ 3392976 h 3397432"/>
              <a:gd name="connsiteX1" fmla="*/ 3755048 w 3755048"/>
              <a:gd name="connsiteY1" fmla="*/ 3397432 h 3397432"/>
              <a:gd name="connsiteX2" fmla="*/ 3755048 w 3755048"/>
              <a:gd name="connsiteY2" fmla="*/ 0 h 3397432"/>
              <a:gd name="connsiteX3" fmla="*/ 601043 w 3755048"/>
              <a:gd name="connsiteY3" fmla="*/ 0 h 3397432"/>
              <a:gd name="connsiteX4" fmla="*/ 5 w 3755048"/>
              <a:gd name="connsiteY4" fmla="*/ 3392976 h 339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55048" h="3397432">
                <a:moveTo>
                  <a:pt x="5" y="3392976"/>
                </a:moveTo>
                <a:lnTo>
                  <a:pt x="3755048" y="3397432"/>
                </a:lnTo>
                <a:lnTo>
                  <a:pt x="3755048" y="0"/>
                </a:lnTo>
                <a:lnTo>
                  <a:pt x="601043" y="0"/>
                </a:lnTo>
                <a:cubicBezTo>
                  <a:pt x="602907" y="-486"/>
                  <a:pt x="-1859" y="3393462"/>
                  <a:pt x="5" y="3392976"/>
                </a:cubicBezTo>
                <a:close/>
              </a:path>
            </a:pathLst>
          </a:custGeom>
          <a:solidFill>
            <a:srgbClr val="2476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dirty="0">
              <a:latin typeface="Proxima Nova Rg" panose="02000506030000020004" pitchFamily="50" charset="0"/>
            </a:endParaRP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B7FF2AAE-11F2-CA46-8130-8C88C237D3F9}"/>
              </a:ext>
            </a:extLst>
          </p:cNvPr>
          <p:cNvSpPr/>
          <p:nvPr userDrawn="1"/>
        </p:nvSpPr>
        <p:spPr>
          <a:xfrm rot="5400000" flipV="1">
            <a:off x="2483367" y="-513921"/>
            <a:ext cx="5397238" cy="9405122"/>
          </a:xfrm>
          <a:custGeom>
            <a:avLst/>
            <a:gdLst>
              <a:gd name="connsiteX0" fmla="*/ 0 w 5397238"/>
              <a:gd name="connsiteY0" fmla="*/ 9405122 h 9405122"/>
              <a:gd name="connsiteX1" fmla="*/ 5397238 w 5397238"/>
              <a:gd name="connsiteY1" fmla="*/ 9405122 h 9405122"/>
              <a:gd name="connsiteX2" fmla="*/ 5397238 w 5397238"/>
              <a:gd name="connsiteY2" fmla="*/ 0 h 9405122"/>
              <a:gd name="connsiteX3" fmla="*/ 1665095 w 5397238"/>
              <a:gd name="connsiteY3" fmla="*/ 0 h 9405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97238" h="9405122">
                <a:moveTo>
                  <a:pt x="0" y="9405122"/>
                </a:moveTo>
                <a:lnTo>
                  <a:pt x="5397238" y="9405122"/>
                </a:lnTo>
                <a:lnTo>
                  <a:pt x="5397238" y="0"/>
                </a:lnTo>
                <a:lnTo>
                  <a:pt x="1665095" y="0"/>
                </a:lnTo>
                <a:close/>
              </a:path>
            </a:pathLst>
          </a:custGeom>
          <a:gradFill>
            <a:gsLst>
              <a:gs pos="0">
                <a:schemeClr val="accent1">
                  <a:lumMod val="75000"/>
                  <a:alpha val="2000"/>
                </a:schemeClr>
              </a:gs>
              <a:gs pos="38000">
                <a:schemeClr val="accent1">
                  <a:lumMod val="75000"/>
                  <a:alpha val="13000"/>
                </a:schemeClr>
              </a:gs>
              <a:gs pos="69000">
                <a:schemeClr val="accent1">
                  <a:lumMod val="75000"/>
                  <a:alpha val="69000"/>
                </a:schemeClr>
              </a:gs>
              <a:gs pos="98000">
                <a:schemeClr val="accent1">
                  <a:lumMod val="75000"/>
                  <a:alpha val="59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dirty="0">
              <a:latin typeface="Proxima Nova Rg" panose="02000506030000020004" pitchFamily="50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2BB97FE-ACB4-7947-9A79-678532F25420}"/>
              </a:ext>
            </a:extLst>
          </p:cNvPr>
          <p:cNvCxnSpPr>
            <a:cxnSpLocks/>
          </p:cNvCxnSpPr>
          <p:nvPr userDrawn="1"/>
        </p:nvCxnSpPr>
        <p:spPr>
          <a:xfrm>
            <a:off x="519964" y="1977446"/>
            <a:ext cx="1104742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A2F8046-E18F-304A-94C9-5E9DB8C4CC39}"/>
              </a:ext>
            </a:extLst>
          </p:cNvPr>
          <p:cNvCxnSpPr>
            <a:cxnSpLocks/>
          </p:cNvCxnSpPr>
          <p:nvPr userDrawn="1"/>
        </p:nvCxnSpPr>
        <p:spPr>
          <a:xfrm>
            <a:off x="520069" y="4556020"/>
            <a:ext cx="1104742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7">
            <a:extLst>
              <a:ext uri="{FF2B5EF4-FFF2-40B4-BE49-F238E27FC236}">
                <a16:creationId xmlns:a16="http://schemas.microsoft.com/office/drawing/2014/main" id="{1F174F76-79D2-704D-8B6F-8BDC2FEED24A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519964" y="4569083"/>
            <a:ext cx="11047421" cy="1810501"/>
          </a:xfrm>
        </p:spPr>
        <p:txBody>
          <a:bodyPr tIns="0" bIns="0">
            <a:noAutofit/>
          </a:bodyPr>
          <a:lstStyle>
            <a:lvl1pPr>
              <a:lnSpc>
                <a:spcPts val="3980"/>
              </a:lnSpc>
              <a:defRPr sz="4400" b="1" i="0">
                <a:solidFill>
                  <a:schemeClr val="bg1"/>
                </a:solidFill>
                <a:latin typeface="Raleway" pitchFamily="2" charset="77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презентации</a:t>
            </a:r>
            <a:endParaRPr lang="en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60E396-B81D-9946-806B-1B35DCC5A7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0700" y="3708400"/>
            <a:ext cx="11047413" cy="847725"/>
          </a:xfrm>
          <a:prstGeom prst="rect">
            <a:avLst/>
          </a:prstGeom>
        </p:spPr>
        <p:txBody>
          <a:bodyPr>
            <a:noAutofit/>
          </a:bodyPr>
          <a:lstStyle>
            <a:lvl1pPr marL="0">
              <a:spcBef>
                <a:spcPts val="0"/>
              </a:spcBef>
              <a:buNone/>
              <a:defRPr lang="en-RU" sz="2400" b="1" i="0" kern="1200" dirty="0">
                <a:solidFill>
                  <a:schemeClr val="bg1"/>
                </a:solidFill>
                <a:latin typeface="Proxima Nova Rg" panose="02000506030000020004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 </a:t>
            </a:r>
          </a:p>
          <a:p>
            <a:pPr lvl="0"/>
            <a:r>
              <a:rPr lang="ru-RU" dirty="0"/>
              <a:t>презентации</a:t>
            </a:r>
            <a:endParaRPr lang="en-RU" dirty="0"/>
          </a:p>
        </p:txBody>
      </p:sp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11DE5692-7692-144A-B76E-D0688B3F9D5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720" y="989297"/>
            <a:ext cx="2142627" cy="662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04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FDD507-04F4-F44C-80CA-B5858E27E421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CCD7CD2A-1A3F-494A-9816-4B2414DB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850" y="520679"/>
            <a:ext cx="10874375" cy="1008041"/>
          </a:xfrm>
        </p:spPr>
        <p:txBody>
          <a:bodyPr anchor="ctr">
            <a:no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br>
              <a:rPr lang="en-US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04EA526-21A1-904D-829D-BE686E5823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8213" y="1930401"/>
            <a:ext cx="4691062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sz="2400" b="0" i="0">
                <a:latin typeface="Raleway" pitchFamily="2" charset="77"/>
              </a:defRPr>
            </a:lvl1pPr>
          </a:lstStyle>
          <a:p>
            <a:pPr lvl="0"/>
            <a:r>
              <a:rPr lang="ru-RU" dirty="0"/>
              <a:t>Текст </a:t>
            </a:r>
            <a:endParaRPr lang="en-RU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E529F58-7B6D-E04F-A16A-D212F1DF83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0288" y="1930401"/>
            <a:ext cx="2647950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lang="en-GB" sz="18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24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Текст 2 </a:t>
            </a:r>
            <a:endParaRPr lang="en-R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5AC38DF-3D5A-8543-914B-5E87521F6B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29712" y="1941513"/>
            <a:ext cx="2643188" cy="37877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lang="en-RU" sz="1800" b="0" i="0" kern="1200" dirty="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228600" lvl="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ru-RU" dirty="0"/>
              <a:t>Текст 3 </a:t>
            </a:r>
            <a:endParaRPr lang="en-RU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168242-9F17-B849-B23D-5597D37F28A8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4BE1A3-6270-8F49-9EDF-AA105AA426C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15" name="Slide Number Placeholder 10">
            <a:extLst>
              <a:ext uri="{FF2B5EF4-FFF2-40B4-BE49-F238E27FC236}">
                <a16:creationId xmlns:a16="http://schemas.microsoft.com/office/drawing/2014/main" id="{E4FB16F2-51A2-E740-A115-77E5BE1657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799" y="6398700"/>
            <a:ext cx="4646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RU" sz="1200" b="1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82584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FDD507-04F4-F44C-80CA-B5858E27E421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>
            <a:extLst>
              <a:ext uri="{FF2B5EF4-FFF2-40B4-BE49-F238E27FC236}">
                <a16:creationId xmlns:a16="http://schemas.microsoft.com/office/drawing/2014/main" id="{CCD7CD2A-1A3F-494A-9816-4B2414DB05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143" y="520700"/>
            <a:ext cx="10874375" cy="1008041"/>
          </a:xfrm>
        </p:spPr>
        <p:txBody>
          <a:bodyPr lIns="90000" anchor="ctr">
            <a:no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04EA526-21A1-904D-829D-BE686E5823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8213" y="1930401"/>
            <a:ext cx="4691062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sz="2000" b="0" i="0">
                <a:latin typeface="Raleway" pitchFamily="2" charset="77"/>
              </a:defRPr>
            </a:lvl1pPr>
          </a:lstStyle>
          <a:p>
            <a:pPr lvl="0"/>
            <a:r>
              <a:rPr lang="ru-RU" dirty="0"/>
              <a:t>Текст </a:t>
            </a:r>
            <a:endParaRPr lang="en-RU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E529F58-7B6D-E04F-A16A-D212F1DF83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10288" y="1930401"/>
            <a:ext cx="2647950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marR="0" indent="-31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Monaco" pitchFamily="2" charset="77"/>
              <a:buChar char="⎼"/>
              <a:tabLst/>
              <a:defRPr lang="en-GB" sz="14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24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Текст 2: 1</a:t>
            </a:r>
          </a:p>
          <a:p>
            <a:pPr lvl="0"/>
            <a:r>
              <a:rPr lang="ru-RU" dirty="0"/>
              <a:t>Текст 2: 2</a:t>
            </a:r>
            <a:endParaRPr lang="en-US" dirty="0"/>
          </a:p>
          <a:p>
            <a:pPr lvl="0"/>
            <a:endParaRPr lang="en-RU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9168242-9F17-B849-B23D-5597D37F28A8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5">
            <a:extLst>
              <a:ext uri="{FF2B5EF4-FFF2-40B4-BE49-F238E27FC236}">
                <a16:creationId xmlns:a16="http://schemas.microsoft.com/office/drawing/2014/main" id="{E31D8355-593A-A942-8F6A-A190A8A580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36856" y="1930401"/>
            <a:ext cx="2647950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marR="0" indent="-3175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Monaco" pitchFamily="2" charset="77"/>
              <a:buChar char="⎼"/>
              <a:tabLst/>
              <a:defRPr lang="en-GB" sz="1400" b="0" i="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1pPr>
            <a:lvl2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2pPr>
            <a:lvl3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3pPr>
            <a:lvl4pPr>
              <a:defRPr lang="en-GB" sz="2400" kern="1200" smtClean="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4pPr>
            <a:lvl5pPr>
              <a:defRPr lang="en-RU" sz="2400" kern="1200">
                <a:solidFill>
                  <a:schemeClr val="tx1"/>
                </a:solidFill>
                <a:latin typeface="Raleway" pitchFamily="2" charset="77"/>
                <a:ea typeface="+mn-ea"/>
                <a:cs typeface="+mn-cs"/>
              </a:defRPr>
            </a:lvl5pPr>
          </a:lstStyle>
          <a:p>
            <a:pPr lvl="0"/>
            <a:r>
              <a:rPr lang="ru-RU" dirty="0"/>
              <a:t>Текст 3: 1</a:t>
            </a:r>
          </a:p>
          <a:p>
            <a:pPr lvl="0"/>
            <a:r>
              <a:rPr lang="ru-RU" dirty="0"/>
              <a:t>Текст 3: 2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5F502CF-F0EB-164B-A44D-701B331C466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CED20B-DF0B-064F-BFAE-E519E6C2E9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42356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9">
            <a:extLst>
              <a:ext uri="{FF2B5EF4-FFF2-40B4-BE49-F238E27FC236}">
                <a16:creationId xmlns:a16="http://schemas.microsoft.com/office/drawing/2014/main" id="{90C4205C-A423-7449-BF3C-E685AD6E817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RU" dirty="0"/>
              <a:t>Pictu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F53F74-19EA-D844-819B-837EAEE5EA2B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7A2BD88-CA12-EF45-8C16-DCFBC12AE942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FC3821F4-AEC9-2E4B-9A7C-7E174121F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1333" y="1659467"/>
            <a:ext cx="4673600" cy="4419600"/>
          </a:xfrm>
          <a:prstGeom prst="rect">
            <a:avLst/>
          </a:prstGeom>
        </p:spPr>
        <p:txBody>
          <a:bodyPr/>
          <a:lstStyle>
            <a:lvl1pPr marL="15875" indent="-15875">
              <a:buNone/>
              <a:tabLst/>
              <a:defRPr sz="2400" b="1" i="0">
                <a:solidFill>
                  <a:schemeClr val="accent1"/>
                </a:solidFill>
                <a:latin typeface="Raleway" pitchFamily="2" charset="77"/>
              </a:defRPr>
            </a:lvl1pPr>
            <a:lvl2pPr>
              <a:defRPr b="1" i="0">
                <a:latin typeface="Raleway" pitchFamily="2" charset="77"/>
              </a:defRPr>
            </a:lvl2pPr>
            <a:lvl3pPr>
              <a:defRPr b="1" i="0">
                <a:latin typeface="Raleway" pitchFamily="2" charset="77"/>
              </a:defRPr>
            </a:lvl3pPr>
            <a:lvl4pPr>
              <a:defRPr b="1" i="0">
                <a:latin typeface="Raleway" pitchFamily="2" charset="77"/>
              </a:defRPr>
            </a:lvl4pPr>
            <a:lvl5pPr>
              <a:defRPr b="1" i="0">
                <a:latin typeface="Raleway" pitchFamily="2" charset="77"/>
              </a:defRPr>
            </a:lvl5pPr>
          </a:lstStyle>
          <a:p>
            <a:pPr lvl="0"/>
            <a:r>
              <a:rPr lang="ru-RU" dirty="0"/>
              <a:t>Текст</a:t>
            </a:r>
            <a:endParaRPr lang="en-RU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E9F676-C12B-264C-92B2-D896127CBA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E6563CE-CE71-9E4D-B45B-229687CF9C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0054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661E942-C682-844F-98C9-C5865F3A1935}"/>
              </a:ext>
            </a:extLst>
          </p:cNvPr>
          <p:cNvSpPr/>
          <p:nvPr userDrawn="1"/>
        </p:nvSpPr>
        <p:spPr>
          <a:xfrm>
            <a:off x="-14288" y="-14288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RU" dirty="0">
              <a:latin typeface="Proxima Nova Rg" panose="02000506030000020004" pitchFamily="50" charset="0"/>
            </a:endParaRP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BEBA21CD-9944-CF46-9747-2C8D6EEECEE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04971" y="1477952"/>
            <a:ext cx="4637237" cy="1685925"/>
          </a:xfrm>
          <a:prstGeom prst="rect">
            <a:avLst/>
          </a:prstGeom>
        </p:spPr>
        <p:txBody>
          <a:bodyPr lIns="90000" tIns="46800" rIns="90000" bIns="46800"/>
          <a:lstStyle>
            <a:lvl1pPr marL="228600" marR="0" indent="11557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400" b="0" i="0" kern="1200" dirty="0" smtClean="0">
                <a:solidFill>
                  <a:schemeClr val="bg1"/>
                </a:solidFill>
                <a:latin typeface="Proxima Nova Rg" panose="02000506030000020004" pitchFamily="50" charset="0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Текст</a:t>
            </a:r>
            <a:endParaRPr lang="en-RU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87FBD85-C3DC-B14D-94A6-C9E5069E2EB7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E75F6C1-59CE-3B4A-8AB8-99A3CAC04012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0">
            <a:extLst>
              <a:ext uri="{FF2B5EF4-FFF2-40B4-BE49-F238E27FC236}">
                <a16:creationId xmlns:a16="http://schemas.microsoft.com/office/drawing/2014/main" id="{12EDF11C-97D5-694A-AF26-85EFD2D179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512763"/>
            <a:ext cx="5570835" cy="607206"/>
          </a:xfrm>
        </p:spPr>
        <p:txBody>
          <a:bodyPr lIns="90000" anchor="ctr">
            <a:noAutofit/>
          </a:bodyPr>
          <a:lstStyle>
            <a:lvl1pPr>
              <a:defRPr sz="3200" b="1" i="0">
                <a:solidFill>
                  <a:schemeClr val="bg1"/>
                </a:solidFill>
                <a:latin typeface="Proxima Nova Rg" panose="02000506030000020004" pitchFamily="50" charset="0"/>
              </a:defRPr>
            </a:lvl1pPr>
          </a:lstStyle>
          <a:p>
            <a:r>
              <a:rPr lang="ru-RU" dirty="0"/>
              <a:t>Заголовок слайда</a:t>
            </a:r>
            <a:endParaRPr lang="en-RU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52ACBBD1-6E39-8C4F-A4BD-5D658225A4F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13116" y="2136336"/>
            <a:ext cx="4637237" cy="12731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30188" marR="0" indent="-230188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000" b="0" i="0" kern="1200" dirty="0">
                <a:solidFill>
                  <a:schemeClr val="tx1"/>
                </a:solidFill>
                <a:latin typeface="Proxima Nova Rg" panose="02000506030000020004" pitchFamily="50" charset="0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Текст 1 </a:t>
            </a:r>
            <a:endParaRPr lang="en-RU" dirty="0"/>
          </a:p>
          <a:p>
            <a:pPr lvl="0"/>
            <a:endParaRPr lang="en-RU" dirty="0"/>
          </a:p>
        </p:txBody>
      </p:sp>
      <p:sp>
        <p:nvSpPr>
          <p:cNvPr id="25" name="Text Placeholder 23">
            <a:extLst>
              <a:ext uri="{FF2B5EF4-FFF2-40B4-BE49-F238E27FC236}">
                <a16:creationId xmlns:a16="http://schemas.microsoft.com/office/drawing/2014/main" id="{47B814B5-6195-E144-A30E-1DF2312A59B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12257" y="530086"/>
            <a:ext cx="4637237" cy="15844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11500" b="1" i="0" kern="1200" dirty="0" smtClean="0">
                <a:solidFill>
                  <a:schemeClr val="accent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RU" dirty="0"/>
              <a:t>721</a:t>
            </a:r>
          </a:p>
        </p:txBody>
      </p:sp>
      <p:sp>
        <p:nvSpPr>
          <p:cNvPr id="26" name="Text Placeholder 23">
            <a:extLst>
              <a:ext uri="{FF2B5EF4-FFF2-40B4-BE49-F238E27FC236}">
                <a16:creationId xmlns:a16="http://schemas.microsoft.com/office/drawing/2014/main" id="{0721A79C-AF18-0141-95A4-CAD6E6DD918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14818" y="5027338"/>
            <a:ext cx="4637237" cy="12731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2000" b="0" i="0" kern="1200" dirty="0">
                <a:solidFill>
                  <a:schemeClr val="tx1"/>
                </a:solidFill>
                <a:latin typeface="Proxima Nova Rg" panose="02000506030000020004" pitchFamily="50" charset="0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Текст 2 </a:t>
            </a:r>
            <a:endParaRPr lang="en-RU" dirty="0"/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0E8727A-95B1-1246-8490-F8DEA6EA117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15527" y="3428122"/>
            <a:ext cx="4637237" cy="158442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RU" sz="11500" b="1" i="0" kern="1200" dirty="0" smtClean="0">
                <a:solidFill>
                  <a:schemeClr val="accent1"/>
                </a:solidFill>
                <a:latin typeface="Raleway" pitchFamily="2" charset="77"/>
                <a:ea typeface="+mn-ea"/>
                <a:cs typeface="+mn-cs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RU" dirty="0"/>
              <a:t>432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A740EA-D173-2243-B2CF-D88324319FFF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597626-F7D3-E049-B99F-C6F6422FEE12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6648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6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7AC0549-E6B3-4343-BD21-4F8013F40114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C9A9DF43-5743-1143-A50E-85C8E2BE55D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977" y="607588"/>
            <a:ext cx="7989888" cy="2874963"/>
          </a:xfrm>
          <a:prstGeom prst="rect">
            <a:avLst/>
          </a:prstGeom>
        </p:spPr>
        <p:txBody>
          <a:bodyPr lIns="90000"/>
          <a:lstStyle>
            <a:lvl1pPr marL="15875" indent="-15875">
              <a:buNone/>
              <a:tabLst/>
              <a:defRPr sz="3600" b="1" i="0">
                <a:solidFill>
                  <a:schemeClr val="bg1"/>
                </a:solidFill>
                <a:latin typeface="Raleway" pitchFamily="2" charset="77"/>
              </a:defRPr>
            </a:lvl1pPr>
            <a:lvl2pPr>
              <a:defRPr b="0" i="0">
                <a:latin typeface="Raleway Medium" pitchFamily="2" charset="77"/>
              </a:defRPr>
            </a:lvl2pPr>
            <a:lvl3pPr>
              <a:defRPr b="0" i="0">
                <a:latin typeface="Raleway Medium" pitchFamily="2" charset="77"/>
              </a:defRPr>
            </a:lvl3pPr>
            <a:lvl4pPr>
              <a:defRPr b="0" i="0">
                <a:latin typeface="Raleway Medium" pitchFamily="2" charset="77"/>
              </a:defRPr>
            </a:lvl4pPr>
            <a:lvl5pPr>
              <a:defRPr b="0" i="0">
                <a:latin typeface="Raleway Medium" pitchFamily="2" charset="77"/>
              </a:defRPr>
            </a:lvl5pPr>
          </a:lstStyle>
          <a:p>
            <a:pPr lvl="0"/>
            <a:r>
              <a:rPr lang="ru-RU" dirty="0"/>
              <a:t>Текст </a:t>
            </a:r>
            <a:endParaRPr lang="en-RU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DF79606-F0FA-DC4B-87A1-79DE00AC8FC3}"/>
              </a:ext>
            </a:extLst>
          </p:cNvPr>
          <p:cNvCxnSpPr>
            <a:cxnSpLocks/>
          </p:cNvCxnSpPr>
          <p:nvPr userDrawn="1"/>
        </p:nvCxnSpPr>
        <p:spPr>
          <a:xfrm>
            <a:off x="479425" y="6349272"/>
            <a:ext cx="2532231" cy="0"/>
          </a:xfrm>
          <a:prstGeom prst="line">
            <a:avLst/>
          </a:prstGeom>
          <a:ln w="158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3D84DD2-F77A-F54C-B426-9534E37655C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4763" indent="-4763">
              <a:lnSpc>
                <a:spcPct val="90000"/>
              </a:lnSpc>
            </a:pPr>
            <a:r>
              <a:rPr lang="ru-RU" dirty="0"/>
              <a:t>Название презентации 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EF43A93-99E0-4E45-AAA3-9724AC17D39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B9C5C9-860D-A248-8A59-A976BD8EEA31}" type="slidenum">
              <a:rPr lang="en-RU" smtClean="0"/>
              <a:pPr/>
              <a:t>‹#›</a:t>
            </a:fld>
            <a:endParaRPr lang="en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78886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35321DEF-03AE-B843-B724-8D95072E65B6}"/>
              </a:ext>
            </a:extLst>
          </p:cNvPr>
          <p:cNvCxnSpPr>
            <a:cxnSpLocks/>
          </p:cNvCxnSpPr>
          <p:nvPr userDrawn="1"/>
        </p:nvCxnSpPr>
        <p:spPr>
          <a:xfrm>
            <a:off x="515769" y="512763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AF57457-BEF5-944A-85E5-E4DB58E91784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8">
            <a:extLst>
              <a:ext uri="{FF2B5EF4-FFF2-40B4-BE49-F238E27FC236}">
                <a16:creationId xmlns:a16="http://schemas.microsoft.com/office/drawing/2014/main" id="{0523944D-45CB-F247-8C49-990D80586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1836" y="512763"/>
            <a:ext cx="5285833" cy="1041717"/>
          </a:xfrm>
        </p:spPr>
        <p:txBody>
          <a:bodyPr lIns="90000" tIns="46800" rIns="90000" bIns="46800" anchor="t">
            <a:no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920218A7-45E3-6D4D-B9B7-C48A132BE1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6173" y="1877851"/>
            <a:ext cx="4691062" cy="38131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ru-RU" dirty="0"/>
              <a:t>Текст </a:t>
            </a:r>
            <a:endParaRPr lang="en-RU" dirty="0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0F9A8364-AB50-F244-94BA-EDF0088A8CD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RU" dirty="0"/>
              <a:t>Pictur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1516DD-BBD8-B84B-ADDD-B7BA83874CB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38DFA1-878E-D645-B69C-7985499A66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00095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A07AA7-F39B-904A-BC75-FCBB383A76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772" y="504041"/>
            <a:ext cx="10869027" cy="1041717"/>
          </a:xfrm>
        </p:spPr>
        <p:txBody>
          <a:bodyPr>
            <a:noAutofit/>
          </a:bodyPr>
          <a:lstStyle>
            <a:lvl1pPr>
              <a:defRPr sz="3200" b="1" i="0">
                <a:latin typeface="Raleway" pitchFamily="2" charset="77"/>
              </a:defRPr>
            </a:lvl1pPr>
          </a:lstStyle>
          <a:p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4037180-581A-3C40-BE45-768724BE8A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8688" y="1879491"/>
            <a:ext cx="2895966" cy="4156075"/>
          </a:xfrm>
          <a:prstGeom prst="rect">
            <a:avLst/>
          </a:prstGeom>
        </p:spPr>
        <p:txBody>
          <a:bodyPr>
            <a:noAutofit/>
          </a:bodyPr>
          <a:lstStyle>
            <a:lvl1pPr marL="15875" indent="-15875">
              <a:buNone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ru-RU" dirty="0"/>
              <a:t>Текст</a:t>
            </a:r>
            <a:endParaRPr lang="en-RU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C4E897F-AAC2-8247-A67E-648287503678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505979-63B6-5745-9C05-34EDE9C84AC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7078CD-49D2-3C4E-85CF-4A2895BB5DC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497034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EE348D-4495-FC40-B5B0-2AB219F9B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ctr">
            <a:noAutofit/>
          </a:bodyPr>
          <a:lstStyle>
            <a:lvl1pPr>
              <a:defRPr lang="en-RU" sz="3200" b="1" dirty="0"/>
            </a:lvl1pPr>
          </a:lstStyle>
          <a:p>
            <a:pPr lvl="0"/>
            <a:r>
              <a:rPr lang="ru-RU" dirty="0"/>
              <a:t>Заголовок </a:t>
            </a:r>
            <a:br>
              <a:rPr lang="ru-RU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5" name="Text Placeholder 17">
            <a:extLst>
              <a:ext uri="{FF2B5EF4-FFF2-40B4-BE49-F238E27FC236}">
                <a16:creationId xmlns:a16="http://schemas.microsoft.com/office/drawing/2014/main" id="{83880E8C-4021-DE41-A653-92B64AA7948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84463" y="1908810"/>
            <a:ext cx="5395306" cy="4073536"/>
          </a:xfrm>
          <a:prstGeom prst="rect">
            <a:avLst/>
          </a:prstGeom>
        </p:spPr>
        <p:txBody>
          <a:bodyPr lIns="0">
            <a:noAutofit/>
          </a:bodyPr>
          <a:lstStyle>
            <a:lvl1pPr marL="7938" indent="-7938">
              <a:buFont typeface="STIXGeneral-Regular" pitchFamily="2" charset="2"/>
              <a:buChar char="⏤"/>
              <a:tabLst/>
              <a:defRPr sz="2000" b="0" i="0">
                <a:latin typeface="Raleway" pitchFamily="2" charset="77"/>
              </a:defRPr>
            </a:lvl1pPr>
          </a:lstStyle>
          <a:p>
            <a:pPr lvl="0"/>
            <a:r>
              <a:rPr lang="en-GB" dirty="0"/>
              <a:t> </a:t>
            </a:r>
            <a:r>
              <a:rPr lang="ru-RU" dirty="0"/>
              <a:t>Текст</a:t>
            </a:r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11B62F6-F977-FD45-8500-0CCE1B34BC82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110BCDE-A926-9848-A96F-BF086F06F04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63E6A37-C3E7-4145-B3D6-6361B61759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766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1517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98BA4713-C3CF-8748-ABEF-8597521E23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993" y="518330"/>
            <a:ext cx="10854739" cy="1041717"/>
          </a:xfrm>
        </p:spPr>
        <p:txBody>
          <a:bodyPr>
            <a:noAutofit/>
          </a:bodyPr>
          <a:lstStyle>
            <a:lvl1pPr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/>
              <a:t>слайда</a:t>
            </a:r>
            <a:endParaRPr lang="en-RU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EEDDBC8B-3B38-6B40-B2E5-4C7B3DA55B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14413" y="2214563"/>
            <a:ext cx="3024187" cy="19431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 dirty="0"/>
              <a:t>Picture</a:t>
            </a:r>
            <a:endParaRPr lang="en-RU" dirty="0"/>
          </a:p>
        </p:txBody>
      </p:sp>
      <p:sp>
        <p:nvSpPr>
          <p:cNvPr id="11" name="Picture Placeholder 9">
            <a:extLst>
              <a:ext uri="{FF2B5EF4-FFF2-40B4-BE49-F238E27FC236}">
                <a16:creationId xmlns:a16="http://schemas.microsoft.com/office/drawing/2014/main" id="{695DDE34-0B29-BD40-8E65-F803AC635DC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57713" y="2214563"/>
            <a:ext cx="3024187" cy="19431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 dirty="0"/>
              <a:t>Picture</a:t>
            </a:r>
            <a:endParaRPr lang="en-RU" dirty="0"/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07DE0664-5D26-3048-8FFA-4E40206B1B5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115301" y="2214563"/>
            <a:ext cx="3024187" cy="1943100"/>
          </a:xfrm>
          <a:prstGeom prst="rect">
            <a:avLst/>
          </a:prstGeom>
        </p:spPr>
        <p:txBody>
          <a:bodyPr/>
          <a:lstStyle>
            <a:lvl1pPr>
              <a:buNone/>
              <a:defRPr b="0" i="0">
                <a:latin typeface="Raleway" pitchFamily="2" charset="77"/>
              </a:defRPr>
            </a:lvl1pPr>
          </a:lstStyle>
          <a:p>
            <a:r>
              <a:rPr lang="en-US" dirty="0"/>
              <a:t>Picture</a:t>
            </a:r>
            <a:endParaRPr lang="en-R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40CF5C1-DC08-C447-9CFF-ED79D9112E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36490" y="4388538"/>
            <a:ext cx="3024187" cy="1050925"/>
          </a:xfrm>
          <a:prstGeom prst="rect">
            <a:avLst/>
          </a:prstGeom>
        </p:spPr>
        <p:txBody>
          <a:bodyPr lIns="0">
            <a:noAutofit/>
          </a:bodyPr>
          <a:lstStyle>
            <a:lvl1pPr marL="7938" indent="-7938">
              <a:buFont typeface="STIXGeneral-Regular" pitchFamily="2" charset="2"/>
              <a:buChar char="⏤"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en-GB" dirty="0"/>
              <a:t> </a:t>
            </a:r>
            <a:r>
              <a:rPr lang="ru-RU" dirty="0"/>
              <a:t>Текст 1</a:t>
            </a:r>
            <a:endParaRPr lang="en-GB" dirty="0"/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88341765-AEB0-424D-9C35-3FE480A0EB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7712" y="4384538"/>
            <a:ext cx="3024187" cy="1050925"/>
          </a:xfrm>
          <a:prstGeom prst="rect">
            <a:avLst/>
          </a:prstGeom>
        </p:spPr>
        <p:txBody>
          <a:bodyPr lIns="0">
            <a:noAutofit/>
          </a:bodyPr>
          <a:lstStyle>
            <a:lvl1pPr marL="7938" indent="-7938">
              <a:buFont typeface="STIXGeneral-Regular" pitchFamily="2" charset="2"/>
              <a:buChar char="⏤"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en-GB" dirty="0"/>
              <a:t> </a:t>
            </a:r>
            <a:r>
              <a:rPr lang="ru-RU" dirty="0"/>
              <a:t>Текст 2 </a:t>
            </a:r>
            <a:endParaRPr lang="en-GB" dirty="0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B8ED627E-1D0A-C04B-A9F5-533EF6A21BF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15301" y="4388538"/>
            <a:ext cx="3024187" cy="1050925"/>
          </a:xfrm>
          <a:prstGeom prst="rect">
            <a:avLst/>
          </a:prstGeom>
        </p:spPr>
        <p:txBody>
          <a:bodyPr lIns="0">
            <a:noAutofit/>
          </a:bodyPr>
          <a:lstStyle>
            <a:lvl1pPr marL="7938" indent="-7938">
              <a:buFont typeface="STIXGeneral-Regular" pitchFamily="2" charset="2"/>
              <a:buChar char="⏤"/>
              <a:tabLst/>
              <a:defRPr sz="1400" b="0" i="0">
                <a:latin typeface="Raleway" pitchFamily="2" charset="77"/>
              </a:defRPr>
            </a:lvl1pPr>
          </a:lstStyle>
          <a:p>
            <a:pPr lvl="0"/>
            <a:r>
              <a:rPr lang="ru-RU" dirty="0"/>
              <a:t>Текст 3</a:t>
            </a:r>
            <a:endParaRPr lang="en-GB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FA360FB1-25D1-624B-ADF8-48470F362C99}"/>
              </a:ext>
            </a:extLst>
          </p:cNvPr>
          <p:cNvCxnSpPr>
            <a:cxnSpLocks/>
          </p:cNvCxnSpPr>
          <p:nvPr userDrawn="1"/>
        </p:nvCxnSpPr>
        <p:spPr>
          <a:xfrm>
            <a:off x="502257" y="6356350"/>
            <a:ext cx="2532231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B5D64-C42B-9A4E-A3DC-04D249A9D89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4763" indent="-4763">
              <a:lnSpc>
                <a:spcPct val="90000"/>
              </a:lnSpc>
            </a:pPr>
            <a:r>
              <a:rPr lang="ru-RU"/>
              <a:t>Название презентации </a:t>
            </a:r>
            <a:endParaRPr lang="ru-R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FD1C9B-F75C-9D45-A410-926E6E5559E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93466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3">
            <a:extLst>
              <a:ext uri="{FF2B5EF4-FFF2-40B4-BE49-F238E27FC236}">
                <a16:creationId xmlns:a16="http://schemas.microsoft.com/office/drawing/2014/main" id="{C4A512D1-1BF0-BA4D-815C-20891FA51384}"/>
              </a:ext>
            </a:extLst>
          </p:cNvPr>
          <p:cNvSpPr/>
          <p:nvPr userDrawn="1"/>
        </p:nvSpPr>
        <p:spPr>
          <a:xfrm rot="16200000" flipV="1">
            <a:off x="8353155" y="3025445"/>
            <a:ext cx="2125652" cy="5575786"/>
          </a:xfrm>
          <a:custGeom>
            <a:avLst/>
            <a:gdLst>
              <a:gd name="connsiteX0" fmla="*/ 2125652 w 2125652"/>
              <a:gd name="connsiteY0" fmla="*/ 0 h 5575786"/>
              <a:gd name="connsiteX1" fmla="*/ 0 w 2125652"/>
              <a:gd name="connsiteY1" fmla="*/ 0 h 5575786"/>
              <a:gd name="connsiteX2" fmla="*/ 0 w 2125652"/>
              <a:gd name="connsiteY2" fmla="*/ 5575786 h 5575786"/>
              <a:gd name="connsiteX3" fmla="*/ 1129161 w 2125652"/>
              <a:gd name="connsiteY3" fmla="*/ 5575786 h 5575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25652" h="5575786">
                <a:moveTo>
                  <a:pt x="2125652" y="0"/>
                </a:moveTo>
                <a:lnTo>
                  <a:pt x="0" y="0"/>
                </a:lnTo>
                <a:lnTo>
                  <a:pt x="0" y="5575786"/>
                </a:lnTo>
                <a:lnTo>
                  <a:pt x="1129161" y="557578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RU" dirty="0">
              <a:latin typeface="Proxima Nova Rg" panose="02000506030000020004" pitchFamily="50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D3EFDA2-5871-A54F-A908-A39892C2C7D7}"/>
              </a:ext>
            </a:extLst>
          </p:cNvPr>
          <p:cNvCxnSpPr/>
          <p:nvPr userDrawn="1"/>
        </p:nvCxnSpPr>
        <p:spPr>
          <a:xfrm>
            <a:off x="505609" y="1968649"/>
            <a:ext cx="55903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EE03114-F0CC-EF44-B9DE-AED021E29EC3}"/>
              </a:ext>
            </a:extLst>
          </p:cNvPr>
          <p:cNvCxnSpPr/>
          <p:nvPr userDrawn="1"/>
        </p:nvCxnSpPr>
        <p:spPr>
          <a:xfrm>
            <a:off x="505609" y="4561242"/>
            <a:ext cx="5590391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1784CA0-AF7F-1440-8270-6E6B825648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5710" y="3763757"/>
            <a:ext cx="3651250" cy="785699"/>
          </a:xfrm>
          <a:prstGeom prst="rect">
            <a:avLst/>
          </a:prstGeom>
        </p:spPr>
        <p:txBody>
          <a:bodyPr>
            <a:noAutofit/>
          </a:bodyPr>
          <a:lstStyle>
            <a:lvl1pPr marL="11113" indent="-11113">
              <a:spcBef>
                <a:spcPts val="0"/>
              </a:spcBef>
              <a:buNone/>
              <a:tabLst/>
              <a:defRPr lang="en-RU" sz="2400" b="1" i="0" kern="1200" dirty="0">
                <a:solidFill>
                  <a:schemeClr val="accent1"/>
                </a:solidFill>
                <a:latin typeface="Proxima Nova Rg" panose="02000506030000020004" pitchFamily="50" charset="0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 </a:t>
            </a:r>
            <a:endParaRPr lang="en-US" dirty="0"/>
          </a:p>
          <a:p>
            <a:pPr lvl="0"/>
            <a:r>
              <a:rPr lang="ru-RU" dirty="0"/>
              <a:t>презентации </a:t>
            </a:r>
            <a:endParaRPr lang="en-RU" dirty="0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D7891C24-1C95-DF47-BEF2-EDA9E6507A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5710" y="4750513"/>
            <a:ext cx="4281544" cy="1327553"/>
          </a:xfrm>
          <a:prstGeom prst="rect">
            <a:avLst/>
          </a:prstGeom>
        </p:spPr>
        <p:txBody>
          <a:bodyPr>
            <a:noAutofit/>
          </a:bodyPr>
          <a:lstStyle>
            <a:lvl1pPr marL="11113" indent="-11113">
              <a:spcBef>
                <a:spcPts val="0"/>
              </a:spcBef>
              <a:buNone/>
              <a:tabLst/>
              <a:defRPr lang="en-RU" sz="44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Заголовок презентации </a:t>
            </a:r>
            <a:endParaRPr lang="en-RU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FC31B4-CF0F-BC47-B778-DD4CE26FA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6B9C5C9-860D-A248-8A59-A976BD8EEA31}" type="slidenum">
              <a:rPr lang="en-RU" smtClean="0"/>
              <a:pPr/>
              <a:t>‹#›</a:t>
            </a:fld>
            <a:endParaRPr lang="en-RU" sz="1200" b="1" i="0" kern="1200" dirty="0">
              <a:solidFill>
                <a:schemeClr val="tx1"/>
              </a:solidFill>
              <a:latin typeface="Raleway" pitchFamily="2" charset="77"/>
              <a:ea typeface="+mn-ea"/>
              <a:cs typeface="+mn-cs"/>
            </a:endParaRPr>
          </a:p>
        </p:txBody>
      </p:sp>
      <p:pic>
        <p:nvPicPr>
          <p:cNvPr id="9" name="Picture 8" descr="A picture containing shape&#10;&#10;Description automatically generated">
            <a:extLst>
              <a:ext uri="{FF2B5EF4-FFF2-40B4-BE49-F238E27FC236}">
                <a16:creationId xmlns:a16="http://schemas.microsoft.com/office/drawing/2014/main" id="{2B45FC58-E923-0A4A-9086-502CEC555F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136" y="989297"/>
            <a:ext cx="2142627" cy="662267"/>
          </a:xfrm>
          <a:prstGeom prst="rect">
            <a:avLst/>
          </a:prstGeom>
        </p:spPr>
      </p:pic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0B10599A-B0FE-43F7-B48F-BCE46C3226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33707" y="0"/>
            <a:ext cx="5569436" cy="5827713"/>
          </a:xfrm>
          <a:custGeom>
            <a:avLst/>
            <a:gdLst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67362 w 5567362"/>
              <a:gd name="connsiteY2" fmla="*/ 5827713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67362 w 5567362"/>
              <a:gd name="connsiteY2" fmla="*/ 2887744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55440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41792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9435"/>
              <a:gd name="connsiteY0" fmla="*/ 0 h 5827713"/>
              <a:gd name="connsiteX1" fmla="*/ 5567362 w 5569435"/>
              <a:gd name="connsiteY1" fmla="*/ 0 h 5827713"/>
              <a:gd name="connsiteX2" fmla="*/ 5569435 w 5569435"/>
              <a:gd name="connsiteY2" fmla="*/ 4807673 h 5827713"/>
              <a:gd name="connsiteX3" fmla="*/ 0 w 5569435"/>
              <a:gd name="connsiteY3" fmla="*/ 5827713 h 5827713"/>
              <a:gd name="connsiteX4" fmla="*/ 0 w 5569435"/>
              <a:gd name="connsiteY4" fmla="*/ 0 h 5827713"/>
              <a:gd name="connsiteX0" fmla="*/ 0 w 5569435"/>
              <a:gd name="connsiteY0" fmla="*/ 0 h 5827713"/>
              <a:gd name="connsiteX1" fmla="*/ 5567362 w 5569435"/>
              <a:gd name="connsiteY1" fmla="*/ 0 h 5827713"/>
              <a:gd name="connsiteX2" fmla="*/ 5569435 w 5569435"/>
              <a:gd name="connsiteY2" fmla="*/ 4807673 h 5827713"/>
              <a:gd name="connsiteX3" fmla="*/ 0 w 5569435"/>
              <a:gd name="connsiteY3" fmla="*/ 5827713 h 5827713"/>
              <a:gd name="connsiteX4" fmla="*/ 0 w 5569435"/>
              <a:gd name="connsiteY4" fmla="*/ 0 h 5827713"/>
              <a:gd name="connsiteX0" fmla="*/ 0 w 5567362"/>
              <a:gd name="connsiteY0" fmla="*/ 0 h 5827713"/>
              <a:gd name="connsiteX1" fmla="*/ 5567362 w 5567362"/>
              <a:gd name="connsiteY1" fmla="*/ 0 h 5827713"/>
              <a:gd name="connsiteX2" fmla="*/ 5555788 w 5567362"/>
              <a:gd name="connsiteY2" fmla="*/ 4848616 h 5827713"/>
              <a:gd name="connsiteX3" fmla="*/ 0 w 5567362"/>
              <a:gd name="connsiteY3" fmla="*/ 5827713 h 5827713"/>
              <a:gd name="connsiteX4" fmla="*/ 0 w 5567362"/>
              <a:gd name="connsiteY4" fmla="*/ 0 h 5827713"/>
              <a:gd name="connsiteX0" fmla="*/ 0 w 5569436"/>
              <a:gd name="connsiteY0" fmla="*/ 0 h 5827713"/>
              <a:gd name="connsiteX1" fmla="*/ 5567362 w 5569436"/>
              <a:gd name="connsiteY1" fmla="*/ 0 h 5827713"/>
              <a:gd name="connsiteX2" fmla="*/ 5569436 w 5569436"/>
              <a:gd name="connsiteY2" fmla="*/ 4848616 h 5827713"/>
              <a:gd name="connsiteX3" fmla="*/ 0 w 5569436"/>
              <a:gd name="connsiteY3" fmla="*/ 5827713 h 5827713"/>
              <a:gd name="connsiteX4" fmla="*/ 0 w 5569436"/>
              <a:gd name="connsiteY4" fmla="*/ 0 h 58277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69436" h="5827713">
                <a:moveTo>
                  <a:pt x="0" y="0"/>
                </a:moveTo>
                <a:lnTo>
                  <a:pt x="5567362" y="0"/>
                </a:lnTo>
                <a:cubicBezTo>
                  <a:pt x="5568053" y="1616205"/>
                  <a:pt x="5568745" y="3232411"/>
                  <a:pt x="5569436" y="4848616"/>
                </a:cubicBezTo>
                <a:lnTo>
                  <a:pt x="0" y="5827713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91174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chemeClr val="tx1"/>
                </a:solidFill>
                <a:latin typeface="Verdana"/>
                <a:cs typeface="Verdana"/>
              </a:defRPr>
            </a:lvl1pPr>
          </a:lstStyle>
          <a:p>
            <a:pPr marL="12700">
              <a:spcBef>
                <a:spcPts val="105"/>
              </a:spcBef>
            </a:pPr>
            <a:r>
              <a:rPr lang="ru-RU" spc="-5"/>
              <a:t>Мини</a:t>
            </a:r>
            <a:r>
              <a:rPr lang="ru-RU" spc="-20"/>
              <a:t> </a:t>
            </a:r>
            <a:r>
              <a:rPr lang="ru-RU" spc="-5"/>
              <a:t>МБА</a:t>
            </a:r>
            <a:r>
              <a:rPr lang="ru-RU" spc="10"/>
              <a:t> </a:t>
            </a:r>
            <a:r>
              <a:rPr lang="ru-RU" spc="-5"/>
              <a:t>Профессор Энтони</a:t>
            </a:r>
            <a:r>
              <a:rPr lang="ru-RU" spc="-30"/>
              <a:t> </a:t>
            </a:r>
            <a:r>
              <a:rPr lang="ru-RU" spc="-5"/>
              <a:t>П.</a:t>
            </a:r>
            <a:r>
              <a:rPr lang="ru-RU"/>
              <a:t> </a:t>
            </a:r>
            <a:r>
              <a:rPr lang="ru-RU" spc="-5"/>
              <a:t>Хурихан</a:t>
            </a:r>
            <a:endParaRPr lang="ru-RU" spc="-5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27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34273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3704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DA5B7-4214-4D09-8BF0-A8D05D1B2A53}" type="datetimeFigureOut">
              <a:rPr lang="ru-RU" smtClean="0"/>
              <a:t>27.11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44646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25434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34497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11/2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5FF801-CBB5-4369-B206-ED24573647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274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9906AC6A-B8A5-4456-8832-737357DC25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3880035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5" imgW="395" imgH="396" progId="TCLayout.ActiveDocument.1">
                  <p:embed/>
                </p:oleObj>
              </mc:Choice>
              <mc:Fallback>
                <p:oleObj name="Слайд think-cell" r:id="rId45" imgW="395" imgH="396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id="{9906AC6A-B8A5-4456-8832-737357DC25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Proxima Nova Rg" panose="02000506030000020004" pitchFamily="50" charset="0"/>
              </a:defRPr>
            </a:lvl1pPr>
          </a:lstStyle>
          <a:p>
            <a:fld id="{C764DE79-268F-4C1A-8933-263129D2AF90}" type="datetimeFigureOut">
              <a:rPr lang="en-US" smtClean="0"/>
              <a:pPr/>
              <a:t>11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Proxima Nova Rg" panose="02000506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Proxima Nova Rg" panose="02000506030000020004" pitchFamily="50" charset="0"/>
              </a:defRPr>
            </a:lvl1pPr>
          </a:lstStyle>
          <a:p>
            <a:fld id="{AD5FF801-CBB5-4369-B206-ED245736478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67708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Proxima Nova Rg" panose="02000506030000020004" pitchFamily="50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Proxima Nova Rg" panose="02000506030000020004" pitchFamily="50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Proxima Nova Rg" panose="02000506030000020004" pitchFamily="50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Proxima Nova Rg" panose="02000506030000020004" pitchFamily="50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roxima Nova Rg" panose="02000506030000020004" pitchFamily="50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Proxima Nova Rg" panose="02000506030000020004" pitchFamily="50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2.jpeg"/><Relationship Id="rId3" Type="http://schemas.openxmlformats.org/officeDocument/2006/relationships/oleObject" Target="../embeddings/oleObject3.bin"/><Relationship Id="rId7" Type="http://schemas.microsoft.com/office/2007/relationships/hdphoto" Target="../media/hdphoto1.wdp"/><Relationship Id="rId12" Type="http://schemas.microsoft.com/office/2007/relationships/hdphoto" Target="../media/hdphoto2.wdp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11" Type="http://schemas.openxmlformats.org/officeDocument/2006/relationships/image" Target="../media/image11.png"/><Relationship Id="rId5" Type="http://schemas.openxmlformats.org/officeDocument/2006/relationships/image" Target="../media/image6.png"/><Relationship Id="rId15" Type="http://schemas.openxmlformats.org/officeDocument/2006/relationships/image" Target="../media/image14.jpeg"/><Relationship Id="rId10" Type="http://schemas.openxmlformats.org/officeDocument/2006/relationships/image" Target="../media/image10.jpeg"/><Relationship Id="rId4" Type="http://schemas.openxmlformats.org/officeDocument/2006/relationships/image" Target="../media/image1.emf"/><Relationship Id="rId9" Type="http://schemas.openxmlformats.org/officeDocument/2006/relationships/image" Target="../media/image9.jpeg"/><Relationship Id="rId14" Type="http://schemas.openxmlformats.org/officeDocument/2006/relationships/image" Target="../media/image13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35133A14-F6E2-4988-86EF-65A8D62F67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95" imgH="396" progId="TCLayout.ActiveDocument.1">
                  <p:embed/>
                </p:oleObj>
              </mc:Choice>
              <mc:Fallback>
                <p:oleObj name="Слайд think-cell" r:id="rId3" imgW="395" imgH="396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35133A14-F6E2-4988-86EF-65A8D62F67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160785F-22C7-4024-B519-62F0704BAC64}"/>
              </a:ext>
            </a:extLst>
          </p:cNvPr>
          <p:cNvSpPr/>
          <p:nvPr/>
        </p:nvSpPr>
        <p:spPr>
          <a:xfrm>
            <a:off x="265369" y="2156848"/>
            <a:ext cx="5898184" cy="4815408"/>
          </a:xfrm>
          <a:prstGeom prst="rect">
            <a:avLst/>
          </a:prstGeom>
          <a:gradFill>
            <a:gsLst>
              <a:gs pos="0">
                <a:srgbClr val="004F87">
                  <a:alpha val="60000"/>
                </a:srgbClr>
              </a:gs>
              <a:gs pos="50800">
                <a:srgbClr val="1B80AB">
                  <a:alpha val="17000"/>
                </a:srgbClr>
              </a:gs>
              <a:gs pos="100000">
                <a:schemeClr val="accent3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Прямоугольник 3">
            <a:extLst>
              <a:ext uri="{FF2B5EF4-FFF2-40B4-BE49-F238E27FC236}">
                <a16:creationId xmlns:a16="http://schemas.microsoft.com/office/drawing/2014/main" id="{66813B37-C5E1-41EC-8024-E2124FE8D519}"/>
              </a:ext>
            </a:extLst>
          </p:cNvPr>
          <p:cNvSpPr/>
          <p:nvPr/>
        </p:nvSpPr>
        <p:spPr>
          <a:xfrm>
            <a:off x="5918662" y="-35358"/>
            <a:ext cx="8163098" cy="6858000"/>
          </a:xfrm>
          <a:custGeom>
            <a:avLst/>
            <a:gdLst>
              <a:gd name="connsiteX0" fmla="*/ 0 w 5219701"/>
              <a:gd name="connsiteY0" fmla="*/ 0 h 6858000"/>
              <a:gd name="connsiteX1" fmla="*/ 5219701 w 5219701"/>
              <a:gd name="connsiteY1" fmla="*/ 0 h 6858000"/>
              <a:gd name="connsiteX2" fmla="*/ 5219701 w 5219701"/>
              <a:gd name="connsiteY2" fmla="*/ 6858000 h 6858000"/>
              <a:gd name="connsiteX3" fmla="*/ 0 w 5219701"/>
              <a:gd name="connsiteY3" fmla="*/ 6858000 h 6858000"/>
              <a:gd name="connsiteX4" fmla="*/ 0 w 5219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219701 w 8648701"/>
              <a:gd name="connsiteY2" fmla="*/ 685800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753101 w 8648701"/>
              <a:gd name="connsiteY2" fmla="*/ 683895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962651 w 8648701"/>
              <a:gd name="connsiteY2" fmla="*/ 683895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48701" h="6858000">
                <a:moveTo>
                  <a:pt x="0" y="0"/>
                </a:moveTo>
                <a:lnTo>
                  <a:pt x="8648701" y="19050"/>
                </a:lnTo>
                <a:lnTo>
                  <a:pt x="5962651" y="683895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04F87">
              <a:alpha val="3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BB8DDD5-5E62-40CF-AF9F-5FCEAD1F3E9A}"/>
              </a:ext>
            </a:extLst>
          </p:cNvPr>
          <p:cNvSpPr/>
          <p:nvPr/>
        </p:nvSpPr>
        <p:spPr>
          <a:xfrm>
            <a:off x="-1" y="0"/>
            <a:ext cx="8648701" cy="6877050"/>
          </a:xfrm>
          <a:custGeom>
            <a:avLst/>
            <a:gdLst>
              <a:gd name="connsiteX0" fmla="*/ 0 w 5219701"/>
              <a:gd name="connsiteY0" fmla="*/ 0 h 6858000"/>
              <a:gd name="connsiteX1" fmla="*/ 5219701 w 5219701"/>
              <a:gd name="connsiteY1" fmla="*/ 0 h 6858000"/>
              <a:gd name="connsiteX2" fmla="*/ 5219701 w 5219701"/>
              <a:gd name="connsiteY2" fmla="*/ 6858000 h 6858000"/>
              <a:gd name="connsiteX3" fmla="*/ 0 w 5219701"/>
              <a:gd name="connsiteY3" fmla="*/ 6858000 h 6858000"/>
              <a:gd name="connsiteX4" fmla="*/ 0 w 5219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219701 w 8648701"/>
              <a:gd name="connsiteY2" fmla="*/ 685800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753101 w 8648701"/>
              <a:gd name="connsiteY2" fmla="*/ 683895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  <a:gd name="connsiteX0" fmla="*/ 0 w 8648701"/>
              <a:gd name="connsiteY0" fmla="*/ 0 h 6858000"/>
              <a:gd name="connsiteX1" fmla="*/ 8648701 w 8648701"/>
              <a:gd name="connsiteY1" fmla="*/ 19050 h 6858000"/>
              <a:gd name="connsiteX2" fmla="*/ 5962651 w 8648701"/>
              <a:gd name="connsiteY2" fmla="*/ 6838950 h 6858000"/>
              <a:gd name="connsiteX3" fmla="*/ 0 w 8648701"/>
              <a:gd name="connsiteY3" fmla="*/ 6858000 h 6858000"/>
              <a:gd name="connsiteX4" fmla="*/ 0 w 864870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48701" h="6858000">
                <a:moveTo>
                  <a:pt x="0" y="0"/>
                </a:moveTo>
                <a:lnTo>
                  <a:pt x="8648701" y="19050"/>
                </a:lnTo>
                <a:lnTo>
                  <a:pt x="5962651" y="683895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004F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9F35EACB-625D-4CD5-8999-E16F8AA11184}"/>
              </a:ext>
            </a:extLst>
          </p:cNvPr>
          <p:cNvSpPr txBox="1">
            <a:spLocks/>
          </p:cNvSpPr>
          <p:nvPr/>
        </p:nvSpPr>
        <p:spPr>
          <a:xfrm>
            <a:off x="396607" y="960781"/>
            <a:ext cx="8523245" cy="320443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Факторы успешности образовательных и обучающих программ: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что изменилось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5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в последние годы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CC94757D-27F6-4CA5-B0DB-A783A35253C3}"/>
              </a:ext>
            </a:extLst>
          </p:cNvPr>
          <p:cNvSpPr txBox="1">
            <a:spLocks/>
          </p:cNvSpPr>
          <p:nvPr/>
        </p:nvSpPr>
        <p:spPr>
          <a:xfrm>
            <a:off x="7060367" y="4682918"/>
            <a:ext cx="5006714" cy="152734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2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Махачкала, декабрь 2023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								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4DDBEE9-A96A-B76A-F027-C7E2DE75168C}"/>
              </a:ext>
            </a:extLst>
          </p:cNvPr>
          <p:cNvSpPr txBox="1"/>
          <p:nvPr/>
        </p:nvSpPr>
        <p:spPr>
          <a:xfrm>
            <a:off x="929390" y="434227"/>
            <a:ext cx="5591331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ВУЧКОВИЧ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АЛЛА АЛЕКСАНДРОВНА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8FD119E-9C59-33CA-9234-40CCC5E8C1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1259" y="0"/>
            <a:ext cx="5260741" cy="394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03265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95" imgH="396" progId="TCLayout.ActiveDocument.1">
                  <p:embed/>
                </p:oleObj>
              </mc:Choice>
              <mc:Fallback>
                <p:oleObj name="Слайд think-cell" r:id="rId3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44001" y="145494"/>
            <a:ext cx="11041274" cy="8164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Новые профессии в образовательной среде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59D63A3-2CA2-420B-84DD-97032DDE8D56}"/>
              </a:ext>
            </a:extLst>
          </p:cNvPr>
          <p:cNvSpPr txBox="1">
            <a:spLocks/>
          </p:cNvSpPr>
          <p:nvPr/>
        </p:nvSpPr>
        <p:spPr>
          <a:xfrm>
            <a:off x="13595278" y="-170980"/>
            <a:ext cx="7476048" cy="34301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узнаете,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чему наставничество так важ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для лидера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будете чувствовать себ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увереннее в роли спикера и преподавател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, поймете значение вашей экспертизы и опыта для други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риоткроете горизонты вашей дальнейшей карьеры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как лидера, поняв, как вам могут помочь опыт обучения, в том числе и ваших подчиненны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 итогам программы 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разработаете дизайн вашей собственной обучающей программы</a:t>
            </a: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A808224E-202D-4AAE-9D34-E3BBE5B6E5BD}"/>
              </a:ext>
            </a:extLst>
          </p:cNvPr>
          <p:cNvSpPr txBox="1">
            <a:spLocks/>
          </p:cNvSpPr>
          <p:nvPr/>
        </p:nvSpPr>
        <p:spPr>
          <a:xfrm>
            <a:off x="544001" y="2886218"/>
            <a:ext cx="567249" cy="5526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solidFill>
                  <a:srgbClr val="36AFCE"/>
                </a:solidFill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F11BBE81-105B-487B-ABD5-3022ED3336E4}"/>
              </a:ext>
            </a:extLst>
          </p:cNvPr>
          <p:cNvSpPr txBox="1">
            <a:spLocks/>
          </p:cNvSpPr>
          <p:nvPr/>
        </p:nvSpPr>
        <p:spPr>
          <a:xfrm>
            <a:off x="544001" y="4579911"/>
            <a:ext cx="567249" cy="5526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solidFill>
                  <a:srgbClr val="36AFCE"/>
                </a:solidFill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C7EE4-926C-97E2-BE1E-3C7E30565F58}"/>
              </a:ext>
            </a:extLst>
          </p:cNvPr>
          <p:cNvSpPr txBox="1"/>
          <p:nvPr/>
        </p:nvSpPr>
        <p:spPr>
          <a:xfrm>
            <a:off x="854853" y="1278037"/>
            <a:ext cx="1110399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Продавец программ (</a:t>
            </a:r>
            <a:r>
              <a:rPr lang="de-DE" sz="3600" b="1" dirty="0">
                <a:solidFill>
                  <a:schemeClr val="accent4">
                    <a:lumMod val="50000"/>
                  </a:schemeClr>
                </a:solidFill>
              </a:rPr>
              <a:t>S</a:t>
            </a: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а</a:t>
            </a:r>
            <a:r>
              <a:rPr lang="de-DE" sz="3600" b="1" dirty="0" err="1">
                <a:solidFill>
                  <a:schemeClr val="accent4">
                    <a:lumMod val="50000"/>
                  </a:schemeClr>
                </a:solidFill>
              </a:rPr>
              <a:t>les</a:t>
            </a: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) </a:t>
            </a:r>
          </a:p>
          <a:p>
            <a:r>
              <a:rPr lang="de-DE" sz="3600" b="1" dirty="0">
                <a:solidFill>
                  <a:schemeClr val="accent4">
                    <a:lumMod val="50000"/>
                  </a:schemeClr>
                </a:solidFill>
              </a:rPr>
              <a:t> </a:t>
            </a:r>
          </a:p>
          <a:p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                                - Дизайнер учебного опыта/</a:t>
            </a:r>
          </a:p>
          <a:p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                                 директор программы</a:t>
            </a:r>
          </a:p>
          <a:p>
            <a:endParaRPr lang="ru-RU" sz="3600" b="1" dirty="0">
              <a:solidFill>
                <a:schemeClr val="accent4">
                  <a:lumMod val="50000"/>
                </a:schemeClr>
              </a:solidFill>
            </a:endParaRP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Кураторы проекта (трекеры)</a:t>
            </a:r>
          </a:p>
          <a:p>
            <a:pPr marL="285750" indent="-285750">
              <a:buFontTx/>
              <a:buChar char="-"/>
            </a:pPr>
            <a:endParaRPr lang="ru-RU" sz="3600" b="1" dirty="0">
              <a:solidFill>
                <a:schemeClr val="accent4">
                  <a:lumMod val="50000"/>
                </a:schemeClr>
              </a:solidFill>
            </a:endParaRPr>
          </a:p>
          <a:p>
            <a:endParaRPr lang="ru-RU" sz="3600" b="1" dirty="0">
              <a:solidFill>
                <a:schemeClr val="accent4">
                  <a:lumMod val="50000"/>
                </a:schemeClr>
              </a:solidFill>
            </a:endParaRPr>
          </a:p>
          <a:p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                                - Коуч в образовательной программе</a:t>
            </a:r>
            <a:endParaRPr lang="ru-RU" sz="3600" b="1" dirty="0">
              <a:solidFill>
                <a:srgbClr val="002060"/>
              </a:solidFill>
            </a:endParaRP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92C6A9AF-670C-C87B-164D-5EB0E6F2CD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8794" y="724039"/>
            <a:ext cx="2308314" cy="1788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3011D6A2-C1C6-6944-C740-7B5DF38A3C3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05" b="8805"/>
          <a:stretch/>
        </p:blipFill>
        <p:spPr bwMode="auto">
          <a:xfrm>
            <a:off x="1295400" y="2032699"/>
            <a:ext cx="2344947" cy="1840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>
            <a:extLst>
              <a:ext uri="{FF2B5EF4-FFF2-40B4-BE49-F238E27FC236}">
                <a16:creationId xmlns:a16="http://schemas.microsoft.com/office/drawing/2014/main" id="{8E70887A-897F-D603-697C-93D15B46B8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6" t="5032" r="9020" b="4151"/>
          <a:stretch/>
        </p:blipFill>
        <p:spPr bwMode="auto">
          <a:xfrm>
            <a:off x="7869374" y="3659630"/>
            <a:ext cx="2082106" cy="1840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>
            <a:extLst>
              <a:ext uri="{FF2B5EF4-FFF2-40B4-BE49-F238E27FC236}">
                <a16:creationId xmlns:a16="http://schemas.microsoft.com/office/drawing/2014/main" id="{DDA04BCB-E269-64A7-4F00-00D6B321A1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16" t="6038" r="11913" b="12076"/>
          <a:stretch/>
        </p:blipFill>
        <p:spPr bwMode="auto">
          <a:xfrm>
            <a:off x="1205390" y="4805460"/>
            <a:ext cx="2434958" cy="1894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328705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7F11D6D1-272A-1836-0215-48F89EE95733}"/>
              </a:ext>
            </a:extLst>
          </p:cNvPr>
          <p:cNvSpPr txBox="1"/>
          <p:nvPr/>
        </p:nvSpPr>
        <p:spPr>
          <a:xfrm>
            <a:off x="2579427" y="1828799"/>
            <a:ext cx="812041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5400" b="1" dirty="0"/>
          </a:p>
          <a:p>
            <a:r>
              <a:rPr lang="ru-RU" sz="5400" b="1" dirty="0"/>
              <a:t>СПАСИБО ЗА ВНИМАНИЕ!</a:t>
            </a:r>
          </a:p>
          <a:p>
            <a:endParaRPr lang="ru-RU" sz="5400" b="1" dirty="0"/>
          </a:p>
          <a:p>
            <a:r>
              <a:rPr lang="en-US" sz="5400" b="1" dirty="0">
                <a:solidFill>
                  <a:srgbClr val="FF0000"/>
                </a:solidFill>
              </a:rPr>
              <a:t>allastadnik@yandex.ru</a:t>
            </a:r>
            <a:endParaRPr lang="ru-RU" sz="5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1224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>
            <a:extLst>
              <a:ext uri="{FF2B5EF4-FFF2-40B4-BE49-F238E27FC236}">
                <a16:creationId xmlns:a16="http://schemas.microsoft.com/office/drawing/2014/main" id="{B53A2097-B4CF-4ACF-8BC7-0DCB77925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95" imgH="396" progId="TCLayout.ActiveDocument.1">
                  <p:embed/>
                </p:oleObj>
              </mc:Choice>
              <mc:Fallback>
                <p:oleObj name="Слайд think-cell" r:id="rId3" imgW="395" imgH="396" progId="TCLayout.ActiveDocument.1">
                  <p:embed/>
                  <p:pic>
                    <p:nvPicPr>
                      <p:cNvPr id="15" name="Объект 14" hidden="1">
                        <a:extLst>
                          <a:ext uri="{FF2B5EF4-FFF2-40B4-BE49-F238E27FC236}">
                            <a16:creationId xmlns:a16="http://schemas.microsoft.com/office/drawing/2014/main" id="{B53A2097-B4CF-4ACF-8BC7-0DCB77925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27A8EE4E-6B2C-42A6-BCC8-7C0AF34EAFC6}"/>
              </a:ext>
            </a:extLst>
          </p:cNvPr>
          <p:cNvSpPr/>
          <p:nvPr/>
        </p:nvSpPr>
        <p:spPr>
          <a:xfrm>
            <a:off x="0" y="4457700"/>
            <a:ext cx="4876800" cy="2400300"/>
          </a:xfrm>
          <a:prstGeom prst="rect">
            <a:avLst/>
          </a:prstGeom>
          <a:solidFill>
            <a:srgbClr val="004F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335397F-47C2-45E0-930C-447028AACB75}"/>
              </a:ext>
            </a:extLst>
          </p:cNvPr>
          <p:cNvSpPr/>
          <p:nvPr/>
        </p:nvSpPr>
        <p:spPr>
          <a:xfrm>
            <a:off x="0" y="2341688"/>
            <a:ext cx="4876800" cy="2306512"/>
          </a:xfrm>
          <a:prstGeom prst="rect">
            <a:avLst/>
          </a:prstGeom>
          <a:solidFill>
            <a:schemeClr val="accent3">
              <a:alpha val="2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C47CD81C-AF57-45E9-8709-0330CFFD1C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250" y="4894179"/>
            <a:ext cx="899771" cy="899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3DCA28-BF60-418A-8760-7FB4D845A3F9}"/>
              </a:ext>
            </a:extLst>
          </p:cNvPr>
          <p:cNvSpPr txBox="1">
            <a:spLocks/>
          </p:cNvSpPr>
          <p:nvPr/>
        </p:nvSpPr>
        <p:spPr>
          <a:xfrm>
            <a:off x="5073721" y="565877"/>
            <a:ext cx="6393467" cy="310181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D6FA9"/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Образование: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Московский государственный институт международных отношений МИД СССР, Institute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for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Personnel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 &amp; Development (CIPD) в Лондоне.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 2021 году закончила программу МШУ Сколково «Лидеры как преподаватели»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Кандидат экономических наук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1D6FA9"/>
                </a:solidFill>
                <a:effectLst/>
                <a:uLnTx/>
                <a:uFillTx/>
                <a:latin typeface="DINPro-Black" panose="02000503030000020004" pitchFamily="50" charset="0"/>
                <a:ea typeface="+mn-ea"/>
                <a:cs typeface="+mn-cs"/>
              </a:rPr>
              <a:t>Работа: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Семь отраслей, 20 лет в должности Заместителя генерального директора или Вице-президента по персоналу, члена Правления, члена Советов директоров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реподает в Высшей школе экономики,  МШУ «Сколково», Финансовой Академии, имеет многолетний опыт выступления на конференциях в форме коротких выступлений и мастер классов</a:t>
            </a:r>
          </a:p>
          <a:p>
            <a:pPr marL="228600" marR="0" lvl="0" indent="-22860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600" b="1" dirty="0">
                <a:solidFill>
                  <a:prstClr val="black">
                    <a:lumMod val="85000"/>
                    <a:lumOff val="15000"/>
                  </a:prstClr>
                </a:solidFill>
                <a:latin typeface="DINPro-Regular" panose="02000503030000020004" pitchFamily="50" charset="0"/>
              </a:rPr>
              <a:t>Председатель Совета по профессиональным квалификациям в области управления персоналом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2081042C-D958-4DCA-8C74-AAC132C028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4202" b="92437" l="5882" r="89916">
                        <a14:foregroundMark x1="53221" y1="8824" x2="55742" y2="13445"/>
                        <a14:foregroundMark x1="52941" y1="4202" x2="55462" y2="4202"/>
                        <a14:foregroundMark x1="76471" y1="57983" x2="77871" y2="37815"/>
                        <a14:foregroundMark x1="74790" y1="78151" x2="78711" y2="33613"/>
                        <a14:foregroundMark x1="84314" y1="63025" x2="86835" y2="34034"/>
                        <a14:foregroundMark x1="83754" y1="73950" x2="85154" y2="59244"/>
                        <a14:foregroundMark x1="81793" y1="79412" x2="83193" y2="69748"/>
                        <a14:foregroundMark x1="86275" y1="31933" x2="85994" y2="37815"/>
                        <a14:foregroundMark x1="78992" y1="32773" x2="78711" y2="35714"/>
                        <a14:foregroundMark x1="78711" y1="31933" x2="77031" y2="33613"/>
                        <a14:foregroundMark x1="77031" y1="30252" x2="79832" y2="32773"/>
                        <a14:foregroundMark x1="67787" y1="52521" x2="65546" y2="78571"/>
                        <a14:foregroundMark x1="67507" y1="76471" x2="69748" y2="46218"/>
                        <a14:foregroundMark x1="60224" y1="50000" x2="56583" y2="87815"/>
                        <a14:foregroundMark x1="49860" y1="73529" x2="53782" y2="47059"/>
                        <a14:foregroundMark x1="50980" y1="51261" x2="50140" y2="66807"/>
                        <a14:foregroundMark x1="40336" y1="52521" x2="38936" y2="75210"/>
                        <a14:foregroundMark x1="37815" y1="79412" x2="39496" y2="64706"/>
                        <a14:foregroundMark x1="30532" y1="77311" x2="33053" y2="51261"/>
                        <a14:foregroundMark x1="6162" y1="72689" x2="10924" y2="37395"/>
                        <a14:foregroundMark x1="18487" y1="39496" x2="16527" y2="32773"/>
                        <a14:foregroundMark x1="16246" y1="69328" x2="12605" y2="76471"/>
                        <a14:foregroundMark x1="25770" y1="46639" x2="27451" y2="44958"/>
                        <a14:foregroundMark x1="21569" y1="73950" x2="21569" y2="79412"/>
                        <a14:foregroundMark x1="49580" y1="92017" x2="52101" y2="92437"/>
                        <a14:foregroundMark x1="46499" y1="47059" x2="45098" y2="4831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14062" y="6064244"/>
            <a:ext cx="657445" cy="2921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5766D53B-7711-45D2-AFB2-D3EF9DBC8B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41554" y="6081935"/>
            <a:ext cx="906417" cy="337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>
            <a:extLst>
              <a:ext uri="{FF2B5EF4-FFF2-40B4-BE49-F238E27FC236}">
                <a16:creationId xmlns:a16="http://schemas.microsoft.com/office/drawing/2014/main" id="{36B6B86B-1D66-4E8A-91FF-92690010E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41482" y="4958219"/>
            <a:ext cx="1081140" cy="771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>
            <a:extLst>
              <a:ext uri="{FF2B5EF4-FFF2-40B4-BE49-F238E27FC236}">
                <a16:creationId xmlns:a16="http://schemas.microsoft.com/office/drawing/2014/main" id="{7AC52497-591F-40D2-AF53-AADDCA516E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11615" y="4873224"/>
            <a:ext cx="1255573" cy="941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Логотип Uralsib (Уралсиб) / Банки и финансы / TopLogos.ru">
            <a:extLst>
              <a:ext uri="{FF2B5EF4-FFF2-40B4-BE49-F238E27FC236}">
                <a16:creationId xmlns:a16="http://schemas.microsoft.com/office/drawing/2014/main" id="{3CEDFBA7-F830-4474-AAA6-E073F3245B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6364" b="90000" l="98" r="97559">
                        <a14:foregroundMark x1="38965" y1="72121" x2="38574" y2="69091"/>
                        <a14:foregroundMark x1="31445" y1="70000" x2="31445" y2="70000"/>
                        <a14:foregroundMark x1="69336" y1="63333" x2="69336" y2="63333"/>
                        <a14:foregroundMark x1="79492" y1="75758" x2="79492" y2="75758"/>
                        <a14:foregroundMark x1="91113" y1="63939" x2="91113" y2="63939"/>
                        <a14:foregroundMark x1="16211" y1="83030" x2="16211" y2="83030"/>
                        <a14:foregroundMark x1="10352" y1="88788" x2="10352" y2="88788"/>
                        <a14:foregroundMark x1="4492" y1="80909" x2="4492" y2="80909"/>
                        <a14:foregroundMark x1="1172" y1="55455" x2="195" y2="66970"/>
                        <a14:foregroundMark x1="66699" y1="73636" x2="64746" y2="69394"/>
                        <a14:foregroundMark x1="91211" y1="71212" x2="91016" y2="66364"/>
                        <a14:foregroundMark x1="95801" y1="56364" x2="97559" y2="55152"/>
                        <a14:foregroundMark x1="10352" y1="6364" x2="10352" y2="63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1204" y="6055507"/>
            <a:ext cx="906416" cy="292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FB66848A-89C7-496E-9074-FC3CC1B24F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9652" y="4952440"/>
            <a:ext cx="1172835" cy="783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>
            <a:extLst>
              <a:ext uri="{FF2B5EF4-FFF2-40B4-BE49-F238E27FC236}">
                <a16:creationId xmlns:a16="http://schemas.microsoft.com/office/drawing/2014/main" id="{E04247DB-36D0-4987-9581-683A30184A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016" y="4952632"/>
            <a:ext cx="853641" cy="782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12" descr="Изображение выглядит как стол, стена, внутренний, человек&#10;&#10;Автоматически созданное описание">
            <a:extLst>
              <a:ext uri="{FF2B5EF4-FFF2-40B4-BE49-F238E27FC236}">
                <a16:creationId xmlns:a16="http://schemas.microsoft.com/office/drawing/2014/main" id="{AB93F41D-1267-48C8-982E-BBE5018E434E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29" b="35000"/>
          <a:stretch/>
        </p:blipFill>
        <p:spPr>
          <a:xfrm>
            <a:off x="0" y="0"/>
            <a:ext cx="4876800" cy="4457700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BC341CAA-866A-4451-BB74-AF9A3AA2969B}"/>
              </a:ext>
            </a:extLst>
          </p:cNvPr>
          <p:cNvSpPr/>
          <p:nvPr/>
        </p:nvSpPr>
        <p:spPr>
          <a:xfrm>
            <a:off x="0" y="0"/>
            <a:ext cx="4876800" cy="4457700"/>
          </a:xfrm>
          <a:prstGeom prst="rect">
            <a:avLst/>
          </a:prstGeom>
          <a:gradFill>
            <a:gsLst>
              <a:gs pos="0">
                <a:srgbClr val="004F87">
                  <a:alpha val="52000"/>
                </a:srgbClr>
              </a:gs>
              <a:gs pos="100000">
                <a:schemeClr val="accent3">
                  <a:lumMod val="60000"/>
                  <a:lumOff val="40000"/>
                  <a:alpha val="4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98464F-E560-42EC-A8A9-3767B048E34E}"/>
              </a:ext>
            </a:extLst>
          </p:cNvPr>
          <p:cNvSpPr txBox="1">
            <a:spLocks/>
          </p:cNvSpPr>
          <p:nvPr/>
        </p:nvSpPr>
        <p:spPr>
          <a:xfrm>
            <a:off x="404823" y="4741213"/>
            <a:ext cx="4643427" cy="95112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Вучкович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Алла Александровна</a:t>
            </a:r>
          </a:p>
        </p:txBody>
      </p:sp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BF43F4BC-89BB-49F9-A4C5-5A51F5C02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49960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369814" y="1191259"/>
            <a:ext cx="506730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600" spc="-25" dirty="0">
                <a:solidFill>
                  <a:srgbClr val="2E5496"/>
                </a:solidFill>
                <a:latin typeface="Calibri"/>
                <a:cs typeface="Calibri"/>
              </a:rPr>
              <a:t>VS</a:t>
            </a:r>
            <a:endParaRPr sz="3600">
              <a:latin typeface="Calibri"/>
              <a:cs typeface="Calibri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24687" y="6488074"/>
            <a:ext cx="102235" cy="1625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900" dirty="0">
                <a:latin typeface="Arial Black"/>
                <a:cs typeface="Arial Black"/>
              </a:rPr>
              <a:t>6</a:t>
            </a:r>
            <a:endParaRPr sz="900">
              <a:latin typeface="Arial Black"/>
              <a:cs typeface="Arial Black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843022" y="5738834"/>
            <a:ext cx="6320155" cy="962660"/>
          </a:xfrm>
          <a:prstGeom prst="rect">
            <a:avLst/>
          </a:prstGeom>
        </p:spPr>
        <p:txBody>
          <a:bodyPr vert="horz" wrap="square" lIns="0" tIns="11557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10"/>
              </a:spcBef>
            </a:pP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VUCA</a:t>
            </a:r>
            <a:r>
              <a:rPr sz="2400" spc="-4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volatility</a:t>
            </a:r>
            <a:r>
              <a:rPr sz="2400" spc="-30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,</a:t>
            </a:r>
            <a:r>
              <a:rPr sz="2400" spc="-30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spc="-20" dirty="0">
                <a:solidFill>
                  <a:srgbClr val="333333"/>
                </a:solidFill>
                <a:latin typeface="Calibri"/>
                <a:cs typeface="Calibri"/>
              </a:rPr>
              <a:t>uncertainty,</a:t>
            </a:r>
            <a:r>
              <a:rPr sz="2400" spc="-5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spc="-20" dirty="0">
                <a:solidFill>
                  <a:srgbClr val="333333"/>
                </a:solidFill>
                <a:latin typeface="Calibri"/>
                <a:cs typeface="Calibri"/>
              </a:rPr>
              <a:t>complexity,</a:t>
            </a:r>
            <a:r>
              <a:rPr sz="2400" spc="-60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333333"/>
                </a:solidFill>
                <a:latin typeface="Calibri"/>
                <a:cs typeface="Calibri"/>
              </a:rPr>
              <a:t>ambiguity</a:t>
            </a:r>
            <a:endParaRPr sz="24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805"/>
              </a:spcBef>
            </a:pP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BANI</a:t>
            </a:r>
            <a:r>
              <a:rPr sz="2400" spc="-7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brittle,</a:t>
            </a:r>
            <a:r>
              <a:rPr sz="2400" spc="-5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dirty="0">
                <a:solidFill>
                  <a:srgbClr val="333333"/>
                </a:solidFill>
                <a:latin typeface="Calibri"/>
                <a:cs typeface="Calibri"/>
              </a:rPr>
              <a:t>anxious,</a:t>
            </a:r>
            <a:r>
              <a:rPr sz="2400" spc="-4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spc="-20" dirty="0">
                <a:solidFill>
                  <a:srgbClr val="333333"/>
                </a:solidFill>
                <a:latin typeface="Calibri"/>
                <a:cs typeface="Calibri"/>
              </a:rPr>
              <a:t>nonlinear,</a:t>
            </a:r>
            <a:r>
              <a:rPr sz="2400" spc="-35" dirty="0">
                <a:solidFill>
                  <a:srgbClr val="333333"/>
                </a:solidFill>
                <a:latin typeface="Calibri"/>
                <a:cs typeface="Calibri"/>
              </a:rPr>
              <a:t> </a:t>
            </a:r>
            <a:r>
              <a:rPr sz="2400" spc="-10" dirty="0">
                <a:solidFill>
                  <a:srgbClr val="333333"/>
                </a:solidFill>
                <a:latin typeface="Calibri"/>
                <a:cs typeface="Calibri"/>
              </a:rPr>
              <a:t>incomprehensible</a:t>
            </a:r>
            <a:endParaRPr sz="2400">
              <a:latin typeface="Calibri"/>
              <a:cs typeface="Calibri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742187" y="2075688"/>
            <a:ext cx="4226560" cy="568960"/>
          </a:xfrm>
          <a:custGeom>
            <a:avLst/>
            <a:gdLst/>
            <a:ahLst/>
            <a:cxnLst/>
            <a:rect l="l" t="t" r="r" b="b"/>
            <a:pathLst>
              <a:path w="4226560" h="568960">
                <a:moveTo>
                  <a:pt x="4131310" y="0"/>
                </a:moveTo>
                <a:lnTo>
                  <a:pt x="94742" y="0"/>
                </a:lnTo>
                <a:lnTo>
                  <a:pt x="57864" y="7445"/>
                </a:lnTo>
                <a:lnTo>
                  <a:pt x="27749" y="27749"/>
                </a:lnTo>
                <a:lnTo>
                  <a:pt x="7445" y="57864"/>
                </a:lnTo>
                <a:lnTo>
                  <a:pt x="0" y="94741"/>
                </a:lnTo>
                <a:lnTo>
                  <a:pt x="0" y="473710"/>
                </a:lnTo>
                <a:lnTo>
                  <a:pt x="7445" y="510587"/>
                </a:lnTo>
                <a:lnTo>
                  <a:pt x="27749" y="540702"/>
                </a:lnTo>
                <a:lnTo>
                  <a:pt x="57864" y="561006"/>
                </a:lnTo>
                <a:lnTo>
                  <a:pt x="94742" y="568451"/>
                </a:lnTo>
                <a:lnTo>
                  <a:pt x="4131310" y="568451"/>
                </a:lnTo>
                <a:lnTo>
                  <a:pt x="4168187" y="561006"/>
                </a:lnTo>
                <a:lnTo>
                  <a:pt x="4198302" y="540702"/>
                </a:lnTo>
                <a:lnTo>
                  <a:pt x="4218606" y="510587"/>
                </a:lnTo>
                <a:lnTo>
                  <a:pt x="4226052" y="473710"/>
                </a:lnTo>
                <a:lnTo>
                  <a:pt x="4226052" y="94741"/>
                </a:lnTo>
                <a:lnTo>
                  <a:pt x="4218606" y="57864"/>
                </a:lnTo>
                <a:lnTo>
                  <a:pt x="4198302" y="27749"/>
                </a:lnTo>
                <a:lnTo>
                  <a:pt x="4168187" y="7445"/>
                </a:lnTo>
                <a:lnTo>
                  <a:pt x="4131310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848360" y="1191259"/>
            <a:ext cx="2040889" cy="133350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923290">
              <a:lnSpc>
                <a:spcPct val="100000"/>
              </a:lnSpc>
              <a:spcBef>
                <a:spcPts val="100"/>
              </a:spcBef>
            </a:pPr>
            <a:r>
              <a:rPr sz="3600" spc="60" dirty="0">
                <a:solidFill>
                  <a:srgbClr val="2E5496"/>
                </a:solidFill>
                <a:latin typeface="Calibri"/>
                <a:cs typeface="Calibri"/>
              </a:rPr>
              <a:t>VUCA</a:t>
            </a:r>
            <a:endParaRPr sz="36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3095"/>
              </a:spcBef>
            </a:pPr>
            <a:r>
              <a:rPr sz="2400" spc="-325" dirty="0">
                <a:solidFill>
                  <a:srgbClr val="FFFFFF"/>
                </a:solidFill>
                <a:latin typeface="Trebuchet MS"/>
                <a:cs typeface="Trebuchet MS"/>
              </a:rPr>
              <a:t>Нестабильный</a:t>
            </a:r>
            <a:endParaRPr sz="2400" dirty="0">
              <a:latin typeface="Trebuchet MS"/>
              <a:cs typeface="Trebuchet M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742187" y="3107435"/>
            <a:ext cx="4226560" cy="570230"/>
          </a:xfrm>
          <a:custGeom>
            <a:avLst/>
            <a:gdLst/>
            <a:ahLst/>
            <a:cxnLst/>
            <a:rect l="l" t="t" r="r" b="b"/>
            <a:pathLst>
              <a:path w="4226560" h="570229">
                <a:moveTo>
                  <a:pt x="4131056" y="0"/>
                </a:moveTo>
                <a:lnTo>
                  <a:pt x="94996" y="0"/>
                </a:lnTo>
                <a:lnTo>
                  <a:pt x="58019" y="7467"/>
                </a:lnTo>
                <a:lnTo>
                  <a:pt x="27824" y="27828"/>
                </a:lnTo>
                <a:lnTo>
                  <a:pt x="7465" y="58025"/>
                </a:lnTo>
                <a:lnTo>
                  <a:pt x="0" y="94996"/>
                </a:lnTo>
                <a:lnTo>
                  <a:pt x="0" y="474979"/>
                </a:lnTo>
                <a:lnTo>
                  <a:pt x="7465" y="511950"/>
                </a:lnTo>
                <a:lnTo>
                  <a:pt x="27824" y="542147"/>
                </a:lnTo>
                <a:lnTo>
                  <a:pt x="58019" y="562508"/>
                </a:lnTo>
                <a:lnTo>
                  <a:pt x="94996" y="569976"/>
                </a:lnTo>
                <a:lnTo>
                  <a:pt x="4131056" y="569976"/>
                </a:lnTo>
                <a:lnTo>
                  <a:pt x="4168026" y="562508"/>
                </a:lnTo>
                <a:lnTo>
                  <a:pt x="4198223" y="542147"/>
                </a:lnTo>
                <a:lnTo>
                  <a:pt x="4218584" y="511950"/>
                </a:lnTo>
                <a:lnTo>
                  <a:pt x="4226052" y="474979"/>
                </a:lnTo>
                <a:lnTo>
                  <a:pt x="4226052" y="94996"/>
                </a:lnTo>
                <a:lnTo>
                  <a:pt x="4218584" y="58025"/>
                </a:lnTo>
                <a:lnTo>
                  <a:pt x="4198223" y="27828"/>
                </a:lnTo>
                <a:lnTo>
                  <a:pt x="4168026" y="7467"/>
                </a:lnTo>
                <a:lnTo>
                  <a:pt x="4131056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848360" y="3165424"/>
            <a:ext cx="1881505" cy="3917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45" dirty="0">
                <a:solidFill>
                  <a:srgbClr val="FFFFFF"/>
                </a:solidFill>
                <a:latin typeface="Trebuchet MS"/>
                <a:cs typeface="Trebuchet MS"/>
              </a:rPr>
              <a:t>Неопределенны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742187" y="4064508"/>
            <a:ext cx="4226560" cy="568960"/>
          </a:xfrm>
          <a:custGeom>
            <a:avLst/>
            <a:gdLst/>
            <a:ahLst/>
            <a:cxnLst/>
            <a:rect l="l" t="t" r="r" b="b"/>
            <a:pathLst>
              <a:path w="4226560" h="568960">
                <a:moveTo>
                  <a:pt x="4131310" y="0"/>
                </a:moveTo>
                <a:lnTo>
                  <a:pt x="94742" y="0"/>
                </a:lnTo>
                <a:lnTo>
                  <a:pt x="57864" y="7445"/>
                </a:lnTo>
                <a:lnTo>
                  <a:pt x="27749" y="27749"/>
                </a:lnTo>
                <a:lnTo>
                  <a:pt x="7445" y="57864"/>
                </a:lnTo>
                <a:lnTo>
                  <a:pt x="0" y="94742"/>
                </a:lnTo>
                <a:lnTo>
                  <a:pt x="0" y="473710"/>
                </a:lnTo>
                <a:lnTo>
                  <a:pt x="7445" y="510587"/>
                </a:lnTo>
                <a:lnTo>
                  <a:pt x="27749" y="540702"/>
                </a:lnTo>
                <a:lnTo>
                  <a:pt x="57864" y="561006"/>
                </a:lnTo>
                <a:lnTo>
                  <a:pt x="94742" y="568452"/>
                </a:lnTo>
                <a:lnTo>
                  <a:pt x="4131310" y="568452"/>
                </a:lnTo>
                <a:lnTo>
                  <a:pt x="4168187" y="561006"/>
                </a:lnTo>
                <a:lnTo>
                  <a:pt x="4198302" y="540702"/>
                </a:lnTo>
                <a:lnTo>
                  <a:pt x="4218606" y="510587"/>
                </a:lnTo>
                <a:lnTo>
                  <a:pt x="4226052" y="473710"/>
                </a:lnTo>
                <a:lnTo>
                  <a:pt x="4226052" y="94742"/>
                </a:lnTo>
                <a:lnTo>
                  <a:pt x="4218606" y="57864"/>
                </a:lnTo>
                <a:lnTo>
                  <a:pt x="4198302" y="27749"/>
                </a:lnTo>
                <a:lnTo>
                  <a:pt x="4168187" y="7445"/>
                </a:lnTo>
                <a:lnTo>
                  <a:pt x="4131310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42187" y="4864608"/>
            <a:ext cx="4226560" cy="570230"/>
          </a:xfrm>
          <a:custGeom>
            <a:avLst/>
            <a:gdLst/>
            <a:ahLst/>
            <a:cxnLst/>
            <a:rect l="l" t="t" r="r" b="b"/>
            <a:pathLst>
              <a:path w="4226560" h="570229">
                <a:moveTo>
                  <a:pt x="4131056" y="0"/>
                </a:moveTo>
                <a:lnTo>
                  <a:pt x="94996" y="0"/>
                </a:lnTo>
                <a:lnTo>
                  <a:pt x="58019" y="7467"/>
                </a:lnTo>
                <a:lnTo>
                  <a:pt x="27824" y="27828"/>
                </a:lnTo>
                <a:lnTo>
                  <a:pt x="7465" y="58025"/>
                </a:lnTo>
                <a:lnTo>
                  <a:pt x="0" y="94996"/>
                </a:lnTo>
                <a:lnTo>
                  <a:pt x="0" y="474980"/>
                </a:lnTo>
                <a:lnTo>
                  <a:pt x="7465" y="511950"/>
                </a:lnTo>
                <a:lnTo>
                  <a:pt x="27824" y="542147"/>
                </a:lnTo>
                <a:lnTo>
                  <a:pt x="58019" y="562508"/>
                </a:lnTo>
                <a:lnTo>
                  <a:pt x="94996" y="569976"/>
                </a:lnTo>
                <a:lnTo>
                  <a:pt x="4131056" y="569976"/>
                </a:lnTo>
                <a:lnTo>
                  <a:pt x="4168026" y="562508"/>
                </a:lnTo>
                <a:lnTo>
                  <a:pt x="4198223" y="542147"/>
                </a:lnTo>
                <a:lnTo>
                  <a:pt x="4218584" y="511950"/>
                </a:lnTo>
                <a:lnTo>
                  <a:pt x="4226052" y="474980"/>
                </a:lnTo>
                <a:lnTo>
                  <a:pt x="4226052" y="94996"/>
                </a:lnTo>
                <a:lnTo>
                  <a:pt x="4218584" y="58025"/>
                </a:lnTo>
                <a:lnTo>
                  <a:pt x="4198223" y="27828"/>
                </a:lnTo>
                <a:lnTo>
                  <a:pt x="4168026" y="7467"/>
                </a:lnTo>
                <a:lnTo>
                  <a:pt x="4131056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848360" y="4123182"/>
            <a:ext cx="1734185" cy="11925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50" dirty="0">
                <a:solidFill>
                  <a:srgbClr val="FFFFFF"/>
                </a:solidFill>
                <a:latin typeface="Trebuchet MS"/>
                <a:cs typeface="Trebuchet MS"/>
              </a:rPr>
              <a:t>Сложный</a:t>
            </a:r>
            <a:endParaRPr sz="2400">
              <a:latin typeface="Trebuchet MS"/>
              <a:cs typeface="Trebuchet MS"/>
            </a:endParaRPr>
          </a:p>
          <a:p>
            <a:pPr>
              <a:lnSpc>
                <a:spcPct val="100000"/>
              </a:lnSpc>
            </a:pPr>
            <a:endParaRPr sz="2950">
              <a:latin typeface="Trebuchet MS"/>
              <a:cs typeface="Trebuchet MS"/>
            </a:endParaRPr>
          </a:p>
          <a:p>
            <a:pPr marL="12700">
              <a:lnSpc>
                <a:spcPct val="100000"/>
              </a:lnSpc>
            </a:pPr>
            <a:r>
              <a:rPr sz="2400" spc="-330" dirty="0">
                <a:solidFill>
                  <a:srgbClr val="FFFFFF"/>
                </a:solidFill>
                <a:latin typeface="Trebuchet MS"/>
                <a:cs typeface="Trebuchet MS"/>
              </a:rPr>
              <a:t>Неоднозначны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793992" y="2040635"/>
            <a:ext cx="4227830" cy="568960"/>
          </a:xfrm>
          <a:custGeom>
            <a:avLst/>
            <a:gdLst/>
            <a:ahLst/>
            <a:cxnLst/>
            <a:rect l="l" t="t" r="r" b="b"/>
            <a:pathLst>
              <a:path w="4227830" h="568960">
                <a:moveTo>
                  <a:pt x="4132833" y="0"/>
                </a:moveTo>
                <a:lnTo>
                  <a:pt x="94741" y="0"/>
                </a:lnTo>
                <a:lnTo>
                  <a:pt x="57864" y="7445"/>
                </a:lnTo>
                <a:lnTo>
                  <a:pt x="27749" y="27749"/>
                </a:lnTo>
                <a:lnTo>
                  <a:pt x="7445" y="57864"/>
                </a:lnTo>
                <a:lnTo>
                  <a:pt x="0" y="94741"/>
                </a:lnTo>
                <a:lnTo>
                  <a:pt x="0" y="473710"/>
                </a:lnTo>
                <a:lnTo>
                  <a:pt x="7445" y="510587"/>
                </a:lnTo>
                <a:lnTo>
                  <a:pt x="27749" y="540702"/>
                </a:lnTo>
                <a:lnTo>
                  <a:pt x="57864" y="561006"/>
                </a:lnTo>
                <a:lnTo>
                  <a:pt x="94741" y="568451"/>
                </a:lnTo>
                <a:lnTo>
                  <a:pt x="4132833" y="568451"/>
                </a:lnTo>
                <a:lnTo>
                  <a:pt x="4169711" y="561006"/>
                </a:lnTo>
                <a:lnTo>
                  <a:pt x="4199826" y="540702"/>
                </a:lnTo>
                <a:lnTo>
                  <a:pt x="4220130" y="510587"/>
                </a:lnTo>
                <a:lnTo>
                  <a:pt x="4227576" y="473710"/>
                </a:lnTo>
                <a:lnTo>
                  <a:pt x="4227576" y="94741"/>
                </a:lnTo>
                <a:lnTo>
                  <a:pt x="4220130" y="57864"/>
                </a:lnTo>
                <a:lnTo>
                  <a:pt x="4199826" y="27749"/>
                </a:lnTo>
                <a:lnTo>
                  <a:pt x="4169711" y="7445"/>
                </a:lnTo>
                <a:lnTo>
                  <a:pt x="4132833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6901942" y="1191259"/>
            <a:ext cx="1611630" cy="12985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3730">
              <a:lnSpc>
                <a:spcPct val="100000"/>
              </a:lnSpc>
              <a:spcBef>
                <a:spcPts val="100"/>
              </a:spcBef>
            </a:pPr>
            <a:r>
              <a:rPr sz="3600" spc="55" dirty="0">
                <a:solidFill>
                  <a:srgbClr val="2E5496"/>
                </a:solidFill>
                <a:latin typeface="Calibri"/>
                <a:cs typeface="Calibri"/>
              </a:rPr>
              <a:t>BANI</a:t>
            </a:r>
            <a:endParaRPr sz="36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2820"/>
              </a:spcBef>
            </a:pPr>
            <a:r>
              <a:rPr sz="2400" spc="-340" dirty="0">
                <a:solidFill>
                  <a:srgbClr val="FFFFFF"/>
                </a:solidFill>
                <a:latin typeface="Trebuchet MS"/>
                <a:cs typeface="Trebuchet MS"/>
              </a:rPr>
              <a:t>Хрупки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6793992" y="3075432"/>
            <a:ext cx="4227830" cy="570230"/>
          </a:xfrm>
          <a:custGeom>
            <a:avLst/>
            <a:gdLst/>
            <a:ahLst/>
            <a:cxnLst/>
            <a:rect l="l" t="t" r="r" b="b"/>
            <a:pathLst>
              <a:path w="4227830" h="570229">
                <a:moveTo>
                  <a:pt x="4132579" y="0"/>
                </a:moveTo>
                <a:lnTo>
                  <a:pt x="94996" y="0"/>
                </a:lnTo>
                <a:lnTo>
                  <a:pt x="58025" y="7467"/>
                </a:lnTo>
                <a:lnTo>
                  <a:pt x="27828" y="27828"/>
                </a:lnTo>
                <a:lnTo>
                  <a:pt x="7467" y="58025"/>
                </a:lnTo>
                <a:lnTo>
                  <a:pt x="0" y="94995"/>
                </a:lnTo>
                <a:lnTo>
                  <a:pt x="0" y="474979"/>
                </a:lnTo>
                <a:lnTo>
                  <a:pt x="7467" y="511950"/>
                </a:lnTo>
                <a:lnTo>
                  <a:pt x="27828" y="542147"/>
                </a:lnTo>
                <a:lnTo>
                  <a:pt x="58025" y="562508"/>
                </a:lnTo>
                <a:lnTo>
                  <a:pt x="94996" y="569975"/>
                </a:lnTo>
                <a:lnTo>
                  <a:pt x="4132579" y="569975"/>
                </a:lnTo>
                <a:lnTo>
                  <a:pt x="4169550" y="562508"/>
                </a:lnTo>
                <a:lnTo>
                  <a:pt x="4199747" y="542147"/>
                </a:lnTo>
                <a:lnTo>
                  <a:pt x="4220108" y="511950"/>
                </a:lnTo>
                <a:lnTo>
                  <a:pt x="4227576" y="474979"/>
                </a:lnTo>
                <a:lnTo>
                  <a:pt x="4227576" y="94995"/>
                </a:lnTo>
                <a:lnTo>
                  <a:pt x="4220108" y="58025"/>
                </a:lnTo>
                <a:lnTo>
                  <a:pt x="4199747" y="27828"/>
                </a:lnTo>
                <a:lnTo>
                  <a:pt x="4169550" y="7467"/>
                </a:lnTo>
                <a:lnTo>
                  <a:pt x="4132579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6901942" y="3134105"/>
            <a:ext cx="122555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90" dirty="0">
                <a:solidFill>
                  <a:srgbClr val="FFFFFF"/>
                </a:solidFill>
                <a:latin typeface="Trebuchet MS"/>
                <a:cs typeface="Trebuchet MS"/>
              </a:rPr>
              <a:t>Тревожны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793992" y="4059935"/>
            <a:ext cx="4227830" cy="570230"/>
          </a:xfrm>
          <a:custGeom>
            <a:avLst/>
            <a:gdLst/>
            <a:ahLst/>
            <a:cxnLst/>
            <a:rect l="l" t="t" r="r" b="b"/>
            <a:pathLst>
              <a:path w="4227830" h="570229">
                <a:moveTo>
                  <a:pt x="4132579" y="0"/>
                </a:moveTo>
                <a:lnTo>
                  <a:pt x="94996" y="0"/>
                </a:lnTo>
                <a:lnTo>
                  <a:pt x="58025" y="7467"/>
                </a:lnTo>
                <a:lnTo>
                  <a:pt x="27828" y="27828"/>
                </a:lnTo>
                <a:lnTo>
                  <a:pt x="7467" y="58025"/>
                </a:lnTo>
                <a:lnTo>
                  <a:pt x="0" y="94995"/>
                </a:lnTo>
                <a:lnTo>
                  <a:pt x="0" y="474980"/>
                </a:lnTo>
                <a:lnTo>
                  <a:pt x="7467" y="511950"/>
                </a:lnTo>
                <a:lnTo>
                  <a:pt x="27828" y="542147"/>
                </a:lnTo>
                <a:lnTo>
                  <a:pt x="58025" y="562508"/>
                </a:lnTo>
                <a:lnTo>
                  <a:pt x="94996" y="569976"/>
                </a:lnTo>
                <a:lnTo>
                  <a:pt x="4132579" y="569976"/>
                </a:lnTo>
                <a:lnTo>
                  <a:pt x="4169550" y="562508"/>
                </a:lnTo>
                <a:lnTo>
                  <a:pt x="4199747" y="542147"/>
                </a:lnTo>
                <a:lnTo>
                  <a:pt x="4220108" y="511950"/>
                </a:lnTo>
                <a:lnTo>
                  <a:pt x="4227576" y="474980"/>
                </a:lnTo>
                <a:lnTo>
                  <a:pt x="4227576" y="94995"/>
                </a:lnTo>
                <a:lnTo>
                  <a:pt x="4220108" y="58025"/>
                </a:lnTo>
                <a:lnTo>
                  <a:pt x="4199747" y="27828"/>
                </a:lnTo>
                <a:lnTo>
                  <a:pt x="4169550" y="7467"/>
                </a:lnTo>
                <a:lnTo>
                  <a:pt x="4132579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6901942" y="4118864"/>
            <a:ext cx="138557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50" dirty="0">
                <a:solidFill>
                  <a:srgbClr val="FFFFFF"/>
                </a:solidFill>
                <a:latin typeface="Trebuchet MS"/>
                <a:cs typeface="Trebuchet MS"/>
              </a:rPr>
              <a:t>Нелинейны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6793992" y="4884420"/>
            <a:ext cx="4227830" cy="568960"/>
          </a:xfrm>
          <a:custGeom>
            <a:avLst/>
            <a:gdLst/>
            <a:ahLst/>
            <a:cxnLst/>
            <a:rect l="l" t="t" r="r" b="b"/>
            <a:pathLst>
              <a:path w="4227830" h="568960">
                <a:moveTo>
                  <a:pt x="4132833" y="0"/>
                </a:moveTo>
                <a:lnTo>
                  <a:pt x="94741" y="0"/>
                </a:lnTo>
                <a:lnTo>
                  <a:pt x="57864" y="7445"/>
                </a:lnTo>
                <a:lnTo>
                  <a:pt x="27749" y="27749"/>
                </a:lnTo>
                <a:lnTo>
                  <a:pt x="7445" y="57864"/>
                </a:lnTo>
                <a:lnTo>
                  <a:pt x="0" y="94741"/>
                </a:lnTo>
                <a:lnTo>
                  <a:pt x="0" y="473709"/>
                </a:lnTo>
                <a:lnTo>
                  <a:pt x="7445" y="510587"/>
                </a:lnTo>
                <a:lnTo>
                  <a:pt x="27749" y="540702"/>
                </a:lnTo>
                <a:lnTo>
                  <a:pt x="57864" y="561006"/>
                </a:lnTo>
                <a:lnTo>
                  <a:pt x="94741" y="568451"/>
                </a:lnTo>
                <a:lnTo>
                  <a:pt x="4132833" y="568451"/>
                </a:lnTo>
                <a:lnTo>
                  <a:pt x="4169711" y="561006"/>
                </a:lnTo>
                <a:lnTo>
                  <a:pt x="4199826" y="540702"/>
                </a:lnTo>
                <a:lnTo>
                  <a:pt x="4220130" y="510587"/>
                </a:lnTo>
                <a:lnTo>
                  <a:pt x="4227576" y="473709"/>
                </a:lnTo>
                <a:lnTo>
                  <a:pt x="4227576" y="94741"/>
                </a:lnTo>
                <a:lnTo>
                  <a:pt x="4220130" y="57864"/>
                </a:lnTo>
                <a:lnTo>
                  <a:pt x="4199826" y="27749"/>
                </a:lnTo>
                <a:lnTo>
                  <a:pt x="4169711" y="7445"/>
                </a:lnTo>
                <a:lnTo>
                  <a:pt x="4132833" y="0"/>
                </a:lnTo>
                <a:close/>
              </a:path>
            </a:pathLst>
          </a:custGeom>
          <a:solidFill>
            <a:srgbClr val="2E549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 txBox="1"/>
          <p:nvPr/>
        </p:nvSpPr>
        <p:spPr>
          <a:xfrm>
            <a:off x="6901942" y="4942713"/>
            <a:ext cx="163830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375" dirty="0">
                <a:solidFill>
                  <a:srgbClr val="FFFFFF"/>
                </a:solidFill>
                <a:latin typeface="Trebuchet MS"/>
                <a:cs typeface="Trebuchet MS"/>
              </a:rPr>
              <a:t>Непостижимый</a:t>
            </a:r>
            <a:endParaRPr sz="2400">
              <a:latin typeface="Trebuchet MS"/>
              <a:cs typeface="Trebuchet M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5314188" y="2321051"/>
            <a:ext cx="1069975" cy="76200"/>
          </a:xfrm>
          <a:custGeom>
            <a:avLst/>
            <a:gdLst/>
            <a:ahLst/>
            <a:cxnLst/>
            <a:rect l="l" t="t" r="r" b="b"/>
            <a:pathLst>
              <a:path w="1069975" h="76200">
                <a:moveTo>
                  <a:pt x="993521" y="0"/>
                </a:moveTo>
                <a:lnTo>
                  <a:pt x="993521" y="76200"/>
                </a:lnTo>
                <a:lnTo>
                  <a:pt x="1057021" y="44450"/>
                </a:lnTo>
                <a:lnTo>
                  <a:pt x="1006221" y="44450"/>
                </a:lnTo>
                <a:lnTo>
                  <a:pt x="1006221" y="31750"/>
                </a:lnTo>
                <a:lnTo>
                  <a:pt x="1057021" y="31750"/>
                </a:lnTo>
                <a:lnTo>
                  <a:pt x="993521" y="0"/>
                </a:lnTo>
                <a:close/>
              </a:path>
              <a:path w="1069975" h="76200">
                <a:moveTo>
                  <a:pt x="993521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993521" y="44450"/>
                </a:lnTo>
                <a:lnTo>
                  <a:pt x="993521" y="31750"/>
                </a:lnTo>
                <a:close/>
              </a:path>
              <a:path w="1069975" h="76200">
                <a:moveTo>
                  <a:pt x="1057021" y="31750"/>
                </a:moveTo>
                <a:lnTo>
                  <a:pt x="1006221" y="31750"/>
                </a:lnTo>
                <a:lnTo>
                  <a:pt x="1006221" y="44450"/>
                </a:lnTo>
                <a:lnTo>
                  <a:pt x="1057021" y="44450"/>
                </a:lnTo>
                <a:lnTo>
                  <a:pt x="1069721" y="38100"/>
                </a:lnTo>
                <a:lnTo>
                  <a:pt x="1057021" y="3175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314188" y="3390900"/>
            <a:ext cx="1069975" cy="76200"/>
          </a:xfrm>
          <a:custGeom>
            <a:avLst/>
            <a:gdLst/>
            <a:ahLst/>
            <a:cxnLst/>
            <a:rect l="l" t="t" r="r" b="b"/>
            <a:pathLst>
              <a:path w="1069975" h="76200">
                <a:moveTo>
                  <a:pt x="993521" y="0"/>
                </a:moveTo>
                <a:lnTo>
                  <a:pt x="993521" y="76200"/>
                </a:lnTo>
                <a:lnTo>
                  <a:pt x="1057021" y="44450"/>
                </a:lnTo>
                <a:lnTo>
                  <a:pt x="1006221" y="44450"/>
                </a:lnTo>
                <a:lnTo>
                  <a:pt x="1006221" y="31750"/>
                </a:lnTo>
                <a:lnTo>
                  <a:pt x="1057021" y="31750"/>
                </a:lnTo>
                <a:lnTo>
                  <a:pt x="993521" y="0"/>
                </a:lnTo>
                <a:close/>
              </a:path>
              <a:path w="1069975" h="76200">
                <a:moveTo>
                  <a:pt x="993521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993521" y="44450"/>
                </a:lnTo>
                <a:lnTo>
                  <a:pt x="993521" y="31750"/>
                </a:lnTo>
                <a:close/>
              </a:path>
              <a:path w="1069975" h="76200">
                <a:moveTo>
                  <a:pt x="1057021" y="31750"/>
                </a:moveTo>
                <a:lnTo>
                  <a:pt x="1006221" y="31750"/>
                </a:lnTo>
                <a:lnTo>
                  <a:pt x="1006221" y="44450"/>
                </a:lnTo>
                <a:lnTo>
                  <a:pt x="1057021" y="44450"/>
                </a:lnTo>
                <a:lnTo>
                  <a:pt x="1069721" y="38100"/>
                </a:lnTo>
                <a:lnTo>
                  <a:pt x="1057021" y="3175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5314188" y="4306823"/>
            <a:ext cx="1069975" cy="76200"/>
          </a:xfrm>
          <a:custGeom>
            <a:avLst/>
            <a:gdLst/>
            <a:ahLst/>
            <a:cxnLst/>
            <a:rect l="l" t="t" r="r" b="b"/>
            <a:pathLst>
              <a:path w="1069975" h="76200">
                <a:moveTo>
                  <a:pt x="993521" y="0"/>
                </a:moveTo>
                <a:lnTo>
                  <a:pt x="993521" y="76200"/>
                </a:lnTo>
                <a:lnTo>
                  <a:pt x="1057021" y="44450"/>
                </a:lnTo>
                <a:lnTo>
                  <a:pt x="1006221" y="44450"/>
                </a:lnTo>
                <a:lnTo>
                  <a:pt x="1006221" y="31750"/>
                </a:lnTo>
                <a:lnTo>
                  <a:pt x="1057021" y="31750"/>
                </a:lnTo>
                <a:lnTo>
                  <a:pt x="993521" y="0"/>
                </a:lnTo>
                <a:close/>
              </a:path>
              <a:path w="1069975" h="76200">
                <a:moveTo>
                  <a:pt x="993521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993521" y="44450"/>
                </a:lnTo>
                <a:lnTo>
                  <a:pt x="993521" y="31750"/>
                </a:lnTo>
                <a:close/>
              </a:path>
              <a:path w="1069975" h="76200">
                <a:moveTo>
                  <a:pt x="1057021" y="31750"/>
                </a:moveTo>
                <a:lnTo>
                  <a:pt x="1006221" y="31750"/>
                </a:lnTo>
                <a:lnTo>
                  <a:pt x="1006221" y="44450"/>
                </a:lnTo>
                <a:lnTo>
                  <a:pt x="1057021" y="44450"/>
                </a:lnTo>
                <a:lnTo>
                  <a:pt x="1069721" y="38100"/>
                </a:lnTo>
                <a:lnTo>
                  <a:pt x="1057021" y="3175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314188" y="5087111"/>
            <a:ext cx="1069975" cy="76200"/>
          </a:xfrm>
          <a:custGeom>
            <a:avLst/>
            <a:gdLst/>
            <a:ahLst/>
            <a:cxnLst/>
            <a:rect l="l" t="t" r="r" b="b"/>
            <a:pathLst>
              <a:path w="1069975" h="76200">
                <a:moveTo>
                  <a:pt x="993521" y="0"/>
                </a:moveTo>
                <a:lnTo>
                  <a:pt x="993521" y="76200"/>
                </a:lnTo>
                <a:lnTo>
                  <a:pt x="1057021" y="44450"/>
                </a:lnTo>
                <a:lnTo>
                  <a:pt x="1006221" y="44450"/>
                </a:lnTo>
                <a:lnTo>
                  <a:pt x="1006221" y="31750"/>
                </a:lnTo>
                <a:lnTo>
                  <a:pt x="1057021" y="31750"/>
                </a:lnTo>
                <a:lnTo>
                  <a:pt x="993521" y="0"/>
                </a:lnTo>
                <a:close/>
              </a:path>
              <a:path w="1069975" h="76200">
                <a:moveTo>
                  <a:pt x="993521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993521" y="44450"/>
                </a:lnTo>
                <a:lnTo>
                  <a:pt x="993521" y="31750"/>
                </a:lnTo>
                <a:close/>
              </a:path>
              <a:path w="1069975" h="76200">
                <a:moveTo>
                  <a:pt x="1057021" y="31750"/>
                </a:moveTo>
                <a:lnTo>
                  <a:pt x="1006221" y="31750"/>
                </a:lnTo>
                <a:lnTo>
                  <a:pt x="1006221" y="44450"/>
                </a:lnTo>
                <a:lnTo>
                  <a:pt x="1057021" y="44450"/>
                </a:lnTo>
                <a:lnTo>
                  <a:pt x="1069721" y="38100"/>
                </a:lnTo>
                <a:lnTo>
                  <a:pt x="1057021" y="31750"/>
                </a:lnTo>
                <a:close/>
              </a:path>
            </a:pathLst>
          </a:custGeom>
          <a:solidFill>
            <a:srgbClr val="A6A6A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 txBox="1">
            <a:spLocks noGrp="1"/>
          </p:cNvSpPr>
          <p:nvPr>
            <p:ph type="title"/>
          </p:nvPr>
        </p:nvSpPr>
        <p:spPr>
          <a:xfrm>
            <a:off x="1296365" y="93703"/>
            <a:ext cx="9725457" cy="124393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b="1" dirty="0">
                <a:solidFill>
                  <a:prstClr val="black">
                    <a:lumMod val="85000"/>
                    <a:lumOff val="15000"/>
                  </a:prstClr>
                </a:solidFill>
                <a:latin typeface="DINPro-Black" panose="02000503030000020004" pitchFamily="50" charset="0"/>
              </a:rPr>
              <a:t>Знаки новой реальности</a:t>
            </a:r>
            <a:b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</a:br>
            <a:endParaRPr spc="90" dirty="0">
              <a:solidFill>
                <a:srgbClr val="2E5496"/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de">
            <a:extLst>
              <a:ext uri="{FF2B5EF4-FFF2-40B4-BE49-F238E27FC236}">
                <a16:creationId xmlns:a16="http://schemas.microsoft.com/office/drawing/2014/main" id="{043D2CC1-9E98-5E84-E20A-A69220C965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803" b="54504"/>
          <a:stretch/>
        </p:blipFill>
        <p:spPr>
          <a:xfrm>
            <a:off x="1238596" y="-152729"/>
            <a:ext cx="10362725" cy="666990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D786FBF8-C85E-499C-5294-1A512147FC06}"/>
              </a:ext>
            </a:extLst>
          </p:cNvPr>
          <p:cNvSpPr txBox="1"/>
          <p:nvPr/>
        </p:nvSpPr>
        <p:spPr>
          <a:xfrm>
            <a:off x="978132" y="6267796"/>
            <a:ext cx="102745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/>
              <a:t>Исследование МШУ Сколково 2023</a:t>
            </a:r>
          </a:p>
        </p:txBody>
      </p:sp>
    </p:spTree>
    <p:extLst>
      <p:ext uri="{BB962C8B-B14F-4D97-AF65-F5344CB8AC3E}">
        <p14:creationId xmlns:p14="http://schemas.microsoft.com/office/powerpoint/2010/main" val="40672065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de">
            <a:extLst>
              <a:ext uri="{FF2B5EF4-FFF2-40B4-BE49-F238E27FC236}">
                <a16:creationId xmlns:a16="http://schemas.microsoft.com/office/drawing/2014/main" id="{EB913CDD-0C31-5D69-6EA4-EE18FD6E9E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800" b="48286"/>
          <a:stretch/>
        </p:blipFill>
        <p:spPr>
          <a:xfrm>
            <a:off x="1571106" y="291076"/>
            <a:ext cx="9518072" cy="58437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F2255F3-3926-F46E-868A-32B8190C75BC}"/>
              </a:ext>
            </a:extLst>
          </p:cNvPr>
          <p:cNvSpPr txBox="1"/>
          <p:nvPr/>
        </p:nvSpPr>
        <p:spPr>
          <a:xfrm>
            <a:off x="1278082" y="6197592"/>
            <a:ext cx="6097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i="1" dirty="0"/>
              <a:t>Исследование МШУ Сколково 2023</a:t>
            </a:r>
          </a:p>
        </p:txBody>
      </p:sp>
    </p:spTree>
    <p:extLst>
      <p:ext uri="{BB962C8B-B14F-4D97-AF65-F5344CB8AC3E}">
        <p14:creationId xmlns:p14="http://schemas.microsoft.com/office/powerpoint/2010/main" val="31178319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95" imgH="396" progId="TCLayout.ActiveDocument.1">
                  <p:embed/>
                </p:oleObj>
              </mc:Choice>
              <mc:Fallback>
                <p:oleObj name="Слайд think-cell" r:id="rId3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44001" y="145494"/>
            <a:ext cx="10379637" cy="8164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Образовательная программа как лаборатория новой реальности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59D63A3-2CA2-420B-84DD-97032DDE8D56}"/>
              </a:ext>
            </a:extLst>
          </p:cNvPr>
          <p:cNvSpPr txBox="1">
            <a:spLocks/>
          </p:cNvSpPr>
          <p:nvPr/>
        </p:nvSpPr>
        <p:spPr>
          <a:xfrm>
            <a:off x="13595278" y="-170980"/>
            <a:ext cx="7476048" cy="34301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узнаете,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чему наставничество так важ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для лидера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будете чувствовать себ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увереннее в роли спикера и преподавател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, поймете значение вашей экспертизы и опыта для други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риоткроете горизонты вашей дальнейшей карьеры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как лидера, поняв, как вам могут помочь опыт обучения, в том числе и ваших подчиненны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 итогам программы 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разработаете дизайн вашей собственной обучающей программы</a:t>
            </a: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A808224E-202D-4AAE-9D34-E3BBE5B6E5BD}"/>
              </a:ext>
            </a:extLst>
          </p:cNvPr>
          <p:cNvSpPr txBox="1">
            <a:spLocks/>
          </p:cNvSpPr>
          <p:nvPr/>
        </p:nvSpPr>
        <p:spPr>
          <a:xfrm>
            <a:off x="544001" y="2886218"/>
            <a:ext cx="567249" cy="5526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solidFill>
                  <a:srgbClr val="36AFCE"/>
                </a:solidFill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F11BBE81-105B-487B-ABD5-3022ED3336E4}"/>
              </a:ext>
            </a:extLst>
          </p:cNvPr>
          <p:cNvSpPr txBox="1">
            <a:spLocks/>
          </p:cNvSpPr>
          <p:nvPr/>
        </p:nvSpPr>
        <p:spPr>
          <a:xfrm>
            <a:off x="544001" y="4579911"/>
            <a:ext cx="567249" cy="5526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solidFill>
                  <a:srgbClr val="36AFCE"/>
                </a:solidFill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C7EE4-926C-97E2-BE1E-3C7E30565F58}"/>
              </a:ext>
            </a:extLst>
          </p:cNvPr>
          <p:cNvSpPr txBox="1"/>
          <p:nvPr/>
        </p:nvSpPr>
        <p:spPr>
          <a:xfrm>
            <a:off x="827625" y="2018467"/>
            <a:ext cx="11103998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Короткие семинары по востребованной  тематике – международная и российская аналитика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Кейсы настоящего и будущего, а не десятилетней давности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Обучение в среде равных, обсуждение собственного опыта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Проектное обучение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«Стажировки», посещение других компаний</a:t>
            </a:r>
            <a:endParaRPr lang="ru-RU" sz="3600" b="1" dirty="0">
              <a:solidFill>
                <a:srgbClr val="002060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9AB23D0-CD89-4618-5F2F-547CC50F3D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02" t="25925" r="10227" b="12339"/>
          <a:stretch/>
        </p:blipFill>
        <p:spPr bwMode="auto">
          <a:xfrm>
            <a:off x="8902460" y="145494"/>
            <a:ext cx="3153725" cy="1837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39275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95" imgH="396" progId="TCLayout.ActiveDocument.1">
                  <p:embed/>
                </p:oleObj>
              </mc:Choice>
              <mc:Fallback>
                <p:oleObj name="Слайд think-cell" r:id="rId3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44001" y="145494"/>
            <a:ext cx="10379637" cy="8164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Индивидуализация опыта обучения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59D63A3-2CA2-420B-84DD-97032DDE8D56}"/>
              </a:ext>
            </a:extLst>
          </p:cNvPr>
          <p:cNvSpPr txBox="1">
            <a:spLocks/>
          </p:cNvSpPr>
          <p:nvPr/>
        </p:nvSpPr>
        <p:spPr>
          <a:xfrm>
            <a:off x="13595278" y="-170980"/>
            <a:ext cx="7476048" cy="34301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узнаете,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чему наставничество так важ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для лидера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будете чувствовать себ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увереннее в роли спикера и преподавател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, поймете значение вашей экспертизы и опыта для други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риоткроете горизонты вашей дальнейшей карьеры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как лидера, поняв, как вам могут помочь опыт обучения, в том числе и ваших подчиненны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 итогам программы 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разработаете дизайн вашей собственной обучающей программы</a:t>
            </a: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A808224E-202D-4AAE-9D34-E3BBE5B6E5BD}"/>
              </a:ext>
            </a:extLst>
          </p:cNvPr>
          <p:cNvSpPr txBox="1">
            <a:spLocks/>
          </p:cNvSpPr>
          <p:nvPr/>
        </p:nvSpPr>
        <p:spPr>
          <a:xfrm>
            <a:off x="544001" y="2886218"/>
            <a:ext cx="567249" cy="5526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solidFill>
                  <a:srgbClr val="36AFCE"/>
                </a:solidFill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F11BBE81-105B-487B-ABD5-3022ED3336E4}"/>
              </a:ext>
            </a:extLst>
          </p:cNvPr>
          <p:cNvSpPr txBox="1">
            <a:spLocks/>
          </p:cNvSpPr>
          <p:nvPr/>
        </p:nvSpPr>
        <p:spPr>
          <a:xfrm>
            <a:off x="544001" y="4579911"/>
            <a:ext cx="567249" cy="5526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solidFill>
                  <a:srgbClr val="36AFCE"/>
                </a:solidFill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C7EE4-926C-97E2-BE1E-3C7E30565F58}"/>
              </a:ext>
            </a:extLst>
          </p:cNvPr>
          <p:cNvSpPr txBox="1"/>
          <p:nvPr/>
        </p:nvSpPr>
        <p:spPr>
          <a:xfrm>
            <a:off x="222946" y="1278037"/>
            <a:ext cx="1106769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Приобретение личных навыков – </a:t>
            </a:r>
            <a:r>
              <a:rPr lang="de-DE" sz="3600" b="1" dirty="0" err="1">
                <a:solidFill>
                  <a:schemeClr val="accent4">
                    <a:lumMod val="50000"/>
                  </a:schemeClr>
                </a:solidFill>
              </a:rPr>
              <a:t>Self</a:t>
            </a:r>
            <a:r>
              <a:rPr lang="de-DE" sz="3600" b="1" dirty="0">
                <a:solidFill>
                  <a:schemeClr val="accent4">
                    <a:lumMod val="50000"/>
                  </a:schemeClr>
                </a:solidFill>
              </a:rPr>
              <a:t> Skills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Конкретная тема или новая специфика 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для топ-руководителей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Индивидуальный </a:t>
            </a:r>
            <a:r>
              <a:rPr lang="ru-RU" sz="3600" b="1" dirty="0" err="1">
                <a:solidFill>
                  <a:schemeClr val="accent4">
                    <a:lumMod val="50000"/>
                  </a:schemeClr>
                </a:solidFill>
              </a:rPr>
              <a:t>менторинг</a:t>
            </a: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 или коучинг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Современные методы обучения </a:t>
            </a:r>
          </a:p>
          <a:p>
            <a:r>
              <a:rPr lang="de-DE" sz="3600" b="1">
                <a:solidFill>
                  <a:schemeClr val="accent4">
                    <a:lumMod val="50000"/>
                  </a:schemeClr>
                </a:solidFill>
              </a:rPr>
              <a:t>   </a:t>
            </a:r>
            <a:r>
              <a:rPr lang="ru-RU" sz="3600" b="1">
                <a:solidFill>
                  <a:schemeClr val="accent4">
                    <a:lumMod val="50000"/>
                  </a:schemeClr>
                </a:solidFill>
              </a:rPr>
              <a:t>на </a:t>
            </a: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цифровых носителях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Не годится для решения командных задач (стратегическая сессия, корпоративная культура, построение команды)</a:t>
            </a:r>
            <a:endParaRPr lang="ru-RU" sz="3600" b="1" dirty="0">
              <a:solidFill>
                <a:srgbClr val="002060"/>
              </a:solidFill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F1A2770-B42B-15DF-DD36-3506D74745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886" t="10103" r="9590" b="11784"/>
          <a:stretch/>
        </p:blipFill>
        <p:spPr bwMode="auto">
          <a:xfrm>
            <a:off x="9501029" y="853817"/>
            <a:ext cx="2363637" cy="1991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78409B41-AE2A-53F8-E1C0-EFB5AD35492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996"/>
          <a:stretch/>
        </p:blipFill>
        <p:spPr bwMode="auto">
          <a:xfrm>
            <a:off x="9076751" y="3211254"/>
            <a:ext cx="2751547" cy="1644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819046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Slide">
            <a:extLst>
              <a:ext uri="{FF2B5EF4-FFF2-40B4-BE49-F238E27FC236}">
                <a16:creationId xmlns:a16="http://schemas.microsoft.com/office/drawing/2014/main" id="{F63C72C0-B930-9E03-F508-8F5A4A2DA9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7612" b="43253"/>
          <a:stretch/>
        </p:blipFill>
        <p:spPr>
          <a:xfrm>
            <a:off x="1778925" y="168749"/>
            <a:ext cx="8304414" cy="604720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29C31EE-A34B-30CD-48E4-E02E8FF61BC0}"/>
              </a:ext>
            </a:extLst>
          </p:cNvPr>
          <p:cNvSpPr txBox="1"/>
          <p:nvPr/>
        </p:nvSpPr>
        <p:spPr>
          <a:xfrm>
            <a:off x="1377835" y="6319919"/>
            <a:ext cx="60973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i="1" dirty="0"/>
              <a:t>Исследование МШУ Сколково 2023</a:t>
            </a:r>
          </a:p>
        </p:txBody>
      </p:sp>
    </p:spTree>
    <p:extLst>
      <p:ext uri="{BB962C8B-B14F-4D97-AF65-F5344CB8AC3E}">
        <p14:creationId xmlns:p14="http://schemas.microsoft.com/office/powerpoint/2010/main" val="2376164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162DD309-EB9F-410A-A3D7-0E11A92464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95" imgH="396" progId="TCLayout.ActiveDocument.1">
                  <p:embed/>
                </p:oleObj>
              </mc:Choice>
              <mc:Fallback>
                <p:oleObj name="Слайд think-cell" r:id="rId3" imgW="395" imgH="396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162DD309-EB9F-410A-A3D7-0E11A92464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3">
            <a:extLst>
              <a:ext uri="{FF2B5EF4-FFF2-40B4-BE49-F238E27FC236}">
                <a16:creationId xmlns:a16="http://schemas.microsoft.com/office/drawing/2014/main" id="{B3672C4F-3CC6-48D1-953C-6E55EC651C95}"/>
              </a:ext>
            </a:extLst>
          </p:cNvPr>
          <p:cNvSpPr txBox="1">
            <a:spLocks/>
          </p:cNvSpPr>
          <p:nvPr/>
        </p:nvSpPr>
        <p:spPr>
          <a:xfrm>
            <a:off x="544001" y="145494"/>
            <a:ext cx="10379637" cy="8164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Black" panose="02000503030000020004" pitchFamily="50" charset="0"/>
                <a:ea typeface="+mj-ea"/>
                <a:cs typeface="+mj-cs"/>
              </a:rPr>
              <a:t>От онлайн образования к обучению в виртуальных средах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959D63A3-2CA2-420B-84DD-97032DDE8D56}"/>
              </a:ext>
            </a:extLst>
          </p:cNvPr>
          <p:cNvSpPr txBox="1">
            <a:spLocks/>
          </p:cNvSpPr>
          <p:nvPr/>
        </p:nvSpPr>
        <p:spPr>
          <a:xfrm>
            <a:off x="13595278" y="-170980"/>
            <a:ext cx="7476048" cy="343012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узнаете,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чему наставничество так важ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для лидера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будете чувствовать себ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увереннее в роли спикера и преподавател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, поймете значение вашей экспертизы и опыта для други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риоткроете горизонты вашей дальнейшей карьеры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как лидера, поняв, как вам могут помочь опыт обучения, в том числе и ваших подчиненных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По итогам программы в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4F87"/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t>разработаете дизайн вашей собственной обучающей программы</a:t>
            </a:r>
          </a:p>
        </p:txBody>
      </p:sp>
      <p:sp>
        <p:nvSpPr>
          <p:cNvPr id="239" name="Slide Number Placeholder 3">
            <a:extLst>
              <a:ext uri="{FF2B5EF4-FFF2-40B4-BE49-F238E27FC236}">
                <a16:creationId xmlns:a16="http://schemas.microsoft.com/office/drawing/2014/main" id="{94D23873-1E4D-47E0-8061-4117F8771C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06078" y="6356350"/>
            <a:ext cx="722220" cy="436913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5FF801-CBB5-4369-B206-ED245736478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DINPro-Regular" panose="02000503030000020004" pitchFamily="50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DINPro-Regular" panose="02000503030000020004" pitchFamily="50" charset="0"/>
              <a:ea typeface="+mn-ea"/>
              <a:cs typeface="+mn-cs"/>
            </a:endParaRPr>
          </a:p>
        </p:txBody>
      </p:sp>
      <p:sp>
        <p:nvSpPr>
          <p:cNvPr id="20" name="Title 3">
            <a:extLst>
              <a:ext uri="{FF2B5EF4-FFF2-40B4-BE49-F238E27FC236}">
                <a16:creationId xmlns:a16="http://schemas.microsoft.com/office/drawing/2014/main" id="{A808224E-202D-4AAE-9D34-E3BBE5B6E5BD}"/>
              </a:ext>
            </a:extLst>
          </p:cNvPr>
          <p:cNvSpPr txBox="1">
            <a:spLocks/>
          </p:cNvSpPr>
          <p:nvPr/>
        </p:nvSpPr>
        <p:spPr>
          <a:xfrm>
            <a:off x="544001" y="2886218"/>
            <a:ext cx="567249" cy="5526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solidFill>
                  <a:srgbClr val="36AFCE"/>
                </a:solidFill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22" name="Title 3">
            <a:extLst>
              <a:ext uri="{FF2B5EF4-FFF2-40B4-BE49-F238E27FC236}">
                <a16:creationId xmlns:a16="http://schemas.microsoft.com/office/drawing/2014/main" id="{F11BBE81-105B-487B-ABD5-3022ED3336E4}"/>
              </a:ext>
            </a:extLst>
          </p:cNvPr>
          <p:cNvSpPr txBox="1">
            <a:spLocks/>
          </p:cNvSpPr>
          <p:nvPr/>
        </p:nvSpPr>
        <p:spPr>
          <a:xfrm>
            <a:off x="544001" y="4579911"/>
            <a:ext cx="567249" cy="5526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RU" sz="3200" b="1" i="0" kern="1200" dirty="0">
                <a:solidFill>
                  <a:schemeClr val="accent1"/>
                </a:solidFill>
                <a:latin typeface="Raleway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solidFill>
                  <a:srgbClr val="36AFCE"/>
                </a:solidFill>
              </a:ln>
              <a:solidFill>
                <a:prstClr val="white"/>
              </a:solidFill>
              <a:effectLst/>
              <a:uLnTx/>
              <a:uFillTx/>
              <a:latin typeface="DINPro-Black" panose="02000503030000020004" pitchFamily="50" charset="0"/>
              <a:ea typeface="+mj-ea"/>
              <a:cs typeface="+mj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B7C7EE4-926C-97E2-BE1E-3C7E30565F58}"/>
              </a:ext>
            </a:extLst>
          </p:cNvPr>
          <p:cNvSpPr txBox="1"/>
          <p:nvPr/>
        </p:nvSpPr>
        <p:spPr>
          <a:xfrm>
            <a:off x="363190" y="1722160"/>
            <a:ext cx="1110399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Формат он-лайн программы 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Преподаватели, владеющие методологией дистанционного обучения и обучения в виртуальной среде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Разумная геймификация</a:t>
            </a:r>
          </a:p>
          <a:p>
            <a:pPr marL="285750" indent="-285750">
              <a:buFontTx/>
              <a:buChar char="-"/>
            </a:pPr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Самое сложное и </a:t>
            </a:r>
          </a:p>
          <a:p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   часто неэффективное – </a:t>
            </a:r>
          </a:p>
          <a:p>
            <a:r>
              <a:rPr lang="ru-RU" sz="3600" b="1" dirty="0">
                <a:solidFill>
                  <a:schemeClr val="accent4">
                    <a:lumMod val="50000"/>
                  </a:schemeClr>
                </a:solidFill>
              </a:rPr>
              <a:t>   гибридные программы</a:t>
            </a:r>
          </a:p>
          <a:p>
            <a:pPr marL="285750" indent="-285750">
              <a:buFontTx/>
              <a:buChar char="-"/>
            </a:pPr>
            <a:endParaRPr lang="ru-RU" sz="3600" b="1" dirty="0">
              <a:solidFill>
                <a:srgbClr val="002060"/>
              </a:solidFill>
            </a:endParaRP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00CE6CE6-0ED9-619C-6BBA-61C75ABAD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2509" y="3678164"/>
            <a:ext cx="4045789" cy="3034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70294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D9A78"/>
      </a:accent1>
      <a:accent2>
        <a:srgbClr val="8BC145"/>
      </a:accent2>
      <a:accent3>
        <a:srgbClr val="36AFCE"/>
      </a:accent3>
      <a:accent4>
        <a:srgbClr val="1D6FA9"/>
      </a:accent4>
      <a:accent5>
        <a:srgbClr val="B74919"/>
      </a:accent5>
      <a:accent6>
        <a:srgbClr val="F19D19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AE6F2518-B084-4896-AF52-66CC2144AA26}"/>
    </a:ext>
  </a:extLst>
</a:theme>
</file>

<file path=ppt/theme/themeOverride1.xml><?xml version="1.0" encoding="utf-8"?>
<a:themeOverride xmlns:a="http://schemas.openxmlformats.org/drawingml/2006/main">
  <a:clrScheme name="general">
    <a:dk1>
      <a:srgbClr val="C41A29"/>
    </a:dk1>
    <a:lt1>
      <a:srgbClr val="FFFFFF"/>
    </a:lt1>
    <a:dk2>
      <a:srgbClr val="000000"/>
    </a:dk2>
    <a:lt2>
      <a:srgbClr val="98A6B6"/>
    </a:lt2>
    <a:accent1>
      <a:srgbClr val="5E7285"/>
    </a:accent1>
    <a:accent2>
      <a:srgbClr val="7A8B9E"/>
    </a:accent2>
    <a:accent3>
      <a:srgbClr val="FFFFFF"/>
    </a:accent3>
    <a:accent4>
      <a:srgbClr val="C41A29"/>
    </a:accent4>
    <a:accent5>
      <a:srgbClr val="98A6B6"/>
    </a:accent5>
    <a:accent6>
      <a:srgbClr val="90102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general">
    <a:dk1>
      <a:srgbClr val="C41A29"/>
    </a:dk1>
    <a:lt1>
      <a:srgbClr val="FFFFFF"/>
    </a:lt1>
    <a:dk2>
      <a:srgbClr val="000000"/>
    </a:dk2>
    <a:lt2>
      <a:srgbClr val="98A6B6"/>
    </a:lt2>
    <a:accent1>
      <a:srgbClr val="5E7285"/>
    </a:accent1>
    <a:accent2>
      <a:srgbClr val="7A8B9E"/>
    </a:accent2>
    <a:accent3>
      <a:srgbClr val="FFFFFF"/>
    </a:accent3>
    <a:accent4>
      <a:srgbClr val="C41A29"/>
    </a:accent4>
    <a:accent5>
      <a:srgbClr val="98A6B6"/>
    </a:accent5>
    <a:accent6>
      <a:srgbClr val="90102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general">
    <a:dk1>
      <a:srgbClr val="C41A29"/>
    </a:dk1>
    <a:lt1>
      <a:srgbClr val="FFFFFF"/>
    </a:lt1>
    <a:dk2>
      <a:srgbClr val="000000"/>
    </a:dk2>
    <a:lt2>
      <a:srgbClr val="98A6B6"/>
    </a:lt2>
    <a:accent1>
      <a:srgbClr val="5E7285"/>
    </a:accent1>
    <a:accent2>
      <a:srgbClr val="7A8B9E"/>
    </a:accent2>
    <a:accent3>
      <a:srgbClr val="FFFFFF"/>
    </a:accent3>
    <a:accent4>
      <a:srgbClr val="C41A29"/>
    </a:accent4>
    <a:accent5>
      <a:srgbClr val="98A6B6"/>
    </a:accent5>
    <a:accent6>
      <a:srgbClr val="90102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81</Words>
  <Application>Microsoft Office PowerPoint</Application>
  <PresentationFormat>Широкоэкранный</PresentationFormat>
  <Paragraphs>98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5" baseType="lpstr">
      <vt:lpstr>Arial</vt:lpstr>
      <vt:lpstr>Arial Black</vt:lpstr>
      <vt:lpstr>Calibri</vt:lpstr>
      <vt:lpstr>DINPro-Black</vt:lpstr>
      <vt:lpstr>DINPro-Regular</vt:lpstr>
      <vt:lpstr>Monaco</vt:lpstr>
      <vt:lpstr>Proxima Nova Rg</vt:lpstr>
      <vt:lpstr>Raleway</vt:lpstr>
      <vt:lpstr>Raleway Medium</vt:lpstr>
      <vt:lpstr>STIXGeneral-Regular</vt:lpstr>
      <vt:lpstr>Trebuchet MS</vt:lpstr>
      <vt:lpstr>Verdana</vt:lpstr>
      <vt:lpstr>Office Theme</vt:lpstr>
      <vt:lpstr>Слайд think-cell</vt:lpstr>
      <vt:lpstr>Презентация PowerPoint</vt:lpstr>
      <vt:lpstr>Презентация PowerPoint</vt:lpstr>
      <vt:lpstr>Знаки новой реальности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la Vuchkovich</dc:creator>
  <cp:lastModifiedBy>Alla Vuchkovich</cp:lastModifiedBy>
  <cp:revision>11</cp:revision>
  <cp:lastPrinted>2022-06-01T08:08:13Z</cp:lastPrinted>
  <dcterms:created xsi:type="dcterms:W3CDTF">2021-10-04T15:52:32Z</dcterms:created>
  <dcterms:modified xsi:type="dcterms:W3CDTF">2023-11-27T22:03:07Z</dcterms:modified>
</cp:coreProperties>
</file>